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68" r:id="rId2"/>
    <p:sldMasterId id="2147483739" r:id="rId3"/>
    <p:sldMasterId id="2147483793" r:id="rId4"/>
  </p:sldMasterIdLst>
  <p:notesMasterIdLst>
    <p:notesMasterId r:id="rId27"/>
  </p:notesMasterIdLst>
  <p:handoutMasterIdLst>
    <p:handoutMasterId r:id="rId28"/>
  </p:handoutMasterIdLst>
  <p:sldIdLst>
    <p:sldId id="299" r:id="rId5"/>
    <p:sldId id="5187" r:id="rId6"/>
    <p:sldId id="5188" r:id="rId7"/>
    <p:sldId id="5189" r:id="rId8"/>
    <p:sldId id="5190" r:id="rId9"/>
    <p:sldId id="5191" r:id="rId10"/>
    <p:sldId id="5192" r:id="rId11"/>
    <p:sldId id="5193" r:id="rId12"/>
    <p:sldId id="5194" r:id="rId13"/>
    <p:sldId id="312" r:id="rId14"/>
    <p:sldId id="5195" r:id="rId15"/>
    <p:sldId id="5196" r:id="rId16"/>
    <p:sldId id="5197" r:id="rId17"/>
    <p:sldId id="5198" r:id="rId18"/>
    <p:sldId id="5199" r:id="rId19"/>
    <p:sldId id="5200" r:id="rId20"/>
    <p:sldId id="5201" r:id="rId21"/>
    <p:sldId id="5202" r:id="rId22"/>
    <p:sldId id="5203" r:id="rId23"/>
    <p:sldId id="5205" r:id="rId24"/>
    <p:sldId id="5213" r:id="rId25"/>
    <p:sldId id="5214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2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C00"/>
    <a:srgbClr val="F5F5F5"/>
    <a:srgbClr val="53565A"/>
    <a:srgbClr val="007398"/>
    <a:srgbClr val="E6E6E6"/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2272"/>
  </p:normalViewPr>
  <p:slideViewPr>
    <p:cSldViewPr snapToGrid="0" showGuides="1">
      <p:cViewPr varScale="1">
        <p:scale>
          <a:sx n="85" d="100"/>
          <a:sy n="85" d="100"/>
        </p:scale>
        <p:origin x="906" y="78"/>
      </p:cViewPr>
      <p:guideLst>
        <p:guide pos="5760"/>
        <p:guide orient="horz" pos="2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-15230"/>
    </p:cViewPr>
  </p:sorterViewPr>
  <p:notesViewPr>
    <p:cSldViewPr snapToGrid="0">
      <p:cViewPr varScale="1">
        <p:scale>
          <a:sx n="69" d="100"/>
          <a:sy n="69" d="100"/>
        </p:scale>
        <p:origin x="2851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dal, Sergio V. (ELS-RIO)" userId="5b9d859b-3213-4f6e-8670-f60881206326" providerId="ADAL" clId="{F8BBE834-170C-4E8D-907D-296D461564D3}"/>
    <pc:docChg chg="modSld">
      <pc:chgData name="Vidal, Sergio V. (ELS-RIO)" userId="5b9d859b-3213-4f6e-8670-f60881206326" providerId="ADAL" clId="{F8BBE834-170C-4E8D-907D-296D461564D3}" dt="2022-04-11T16:59:06.487" v="0" actId="729"/>
      <pc:docMkLst>
        <pc:docMk/>
      </pc:docMkLst>
      <pc:sldChg chg="mod modShow">
        <pc:chgData name="Vidal, Sergio V. (ELS-RIO)" userId="5b9d859b-3213-4f6e-8670-f60881206326" providerId="ADAL" clId="{F8BBE834-170C-4E8D-907D-296D461564D3}" dt="2022-04-11T16:59:06.487" v="0" actId="729"/>
        <pc:sldMkLst>
          <pc:docMk/>
          <pc:sldMk cId="2509789162" sldId="5188"/>
        </pc:sldMkLst>
      </pc:sldChg>
    </pc:docChg>
  </pc:docChgLst>
  <pc:docChgLst>
    <pc:chgData name="Vidal, Sergio V. (ELS-RIO)" userId="5b9d859b-3213-4f6e-8670-f60881206326" providerId="ADAL" clId="{7C86066F-AAEB-4E2B-8C77-15CCC4ED2E6F}"/>
    <pc:docChg chg="modSld">
      <pc:chgData name="Vidal, Sergio V. (ELS-RIO)" userId="5b9d859b-3213-4f6e-8670-f60881206326" providerId="ADAL" clId="{7C86066F-AAEB-4E2B-8C77-15CCC4ED2E6F}" dt="2022-02-01T18:38:47.434" v="8"/>
      <pc:docMkLst>
        <pc:docMk/>
      </pc:docMkLst>
      <pc:sldChg chg="modSp mod">
        <pc:chgData name="Vidal, Sergio V. (ELS-RIO)" userId="5b9d859b-3213-4f6e-8670-f60881206326" providerId="ADAL" clId="{7C86066F-AAEB-4E2B-8C77-15CCC4ED2E6F}" dt="2022-02-01T18:38:47.434" v="8"/>
        <pc:sldMkLst>
          <pc:docMk/>
          <pc:sldMk cId="1784399076" sldId="5189"/>
        </pc:sldMkLst>
        <pc:spChg chg="mod">
          <ac:chgData name="Vidal, Sergio V. (ELS-RIO)" userId="5b9d859b-3213-4f6e-8670-f60881206326" providerId="ADAL" clId="{7C86066F-AAEB-4E2B-8C77-15CCC4ED2E6F}" dt="2022-02-01T18:38:47.434" v="8"/>
          <ac:spMkLst>
            <pc:docMk/>
            <pc:sldMk cId="1784399076" sldId="5189"/>
            <ac:spMk id="17" creationId="{A8EF6D19-98E0-4F00-B9BF-A1E2F94087DC}"/>
          </ac:spMkLst>
        </pc:spChg>
      </pc:sldChg>
    </pc:docChg>
  </pc:docChgLst>
  <pc:docChgLst>
    <pc:chgData name="Santos, Samara (ELS-CON)" userId="19ef437e-c748-4d7a-92ef-d0a7b3eec261" providerId="ADAL" clId="{5E6C02DE-F664-4A9B-AED7-D3C692FC71E0}"/>
    <pc:docChg chg="custSel addSld delSld modSld">
      <pc:chgData name="Santos, Samara (ELS-CON)" userId="19ef437e-c748-4d7a-92ef-d0a7b3eec261" providerId="ADAL" clId="{5E6C02DE-F664-4A9B-AED7-D3C692FC71E0}" dt="2022-01-24T19:01:25.663" v="80" actId="1038"/>
      <pc:docMkLst>
        <pc:docMk/>
      </pc:docMkLst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338480776" sldId="26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74327891" sldId="26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192374097" sldId="26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838244899" sldId="26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802580650" sldId="26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548331366" sldId="27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183755273" sldId="27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807475806" sldId="27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573015514" sldId="27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496443431" sldId="28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22606481" sldId="30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060890710" sldId="30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706952326" sldId="31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760769127" sldId="31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922061829" sldId="31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851163251" sldId="31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634466857" sldId="31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843266832" sldId="32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857004297" sldId="32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764177724" sldId="33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402942303" sldId="53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760571811" sldId="58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891853220" sldId="669"/>
        </pc:sldMkLst>
      </pc:sldChg>
      <pc:sldChg chg="add del">
        <pc:chgData name="Santos, Samara (ELS-CON)" userId="19ef437e-c748-4d7a-92ef-d0a7b3eec261" providerId="ADAL" clId="{5E6C02DE-F664-4A9B-AED7-D3C692FC71E0}" dt="2022-01-16T00:10:40.338" v="42" actId="47"/>
        <pc:sldMkLst>
          <pc:docMk/>
          <pc:sldMk cId="1166557944" sldId="776"/>
        </pc:sldMkLst>
      </pc:sldChg>
      <pc:sldChg chg="add del">
        <pc:chgData name="Santos, Samara (ELS-CON)" userId="19ef437e-c748-4d7a-92ef-d0a7b3eec261" providerId="ADAL" clId="{5E6C02DE-F664-4A9B-AED7-D3C692FC71E0}" dt="2022-01-16T00:11:11.527" v="44" actId="47"/>
        <pc:sldMkLst>
          <pc:docMk/>
          <pc:sldMk cId="3003239538" sldId="797"/>
        </pc:sldMkLst>
      </pc:sldChg>
      <pc:sldChg chg="add del">
        <pc:chgData name="Santos, Samara (ELS-CON)" userId="19ef437e-c748-4d7a-92ef-d0a7b3eec261" providerId="ADAL" clId="{5E6C02DE-F664-4A9B-AED7-D3C692FC71E0}" dt="2022-01-16T00:11:11.527" v="44" actId="47"/>
        <pc:sldMkLst>
          <pc:docMk/>
          <pc:sldMk cId="3767278773" sldId="83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654244111" sldId="1068"/>
        </pc:sldMkLst>
      </pc:sldChg>
      <pc:sldChg chg="del">
        <pc:chgData name="Santos, Samara (ELS-CON)" userId="19ef437e-c748-4d7a-92ef-d0a7b3eec261" providerId="ADAL" clId="{5E6C02DE-F664-4A9B-AED7-D3C692FC71E0}" dt="2022-01-15T22:35:02.706" v="0" actId="47"/>
        <pc:sldMkLst>
          <pc:docMk/>
          <pc:sldMk cId="1990372335" sldId="132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020207616" sldId="408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0248000" sldId="434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908396148" sldId="458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585838380" sldId="476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7205781" sldId="489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302167601" sldId="498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589122981" sldId="499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784323914" sldId="499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78079720" sldId="499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0371349" sldId="499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392097950" sldId="500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160384354" sldId="500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170809379" sldId="500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047625200" sldId="501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292431262" sldId="501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597615802" sldId="503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277328211" sldId="503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75814590" sldId="503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020813132" sldId="503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271292130" sldId="503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937382626" sldId="503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557880999" sldId="503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634210096" sldId="506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460301079" sldId="507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981241987" sldId="507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002431545" sldId="507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513297892" sldId="507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58430974" sldId="508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199520559" sldId="508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725419633" sldId="508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409910023" sldId="508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37747147" sldId="509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816602098" sldId="509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25835384" sldId="509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710531723" sldId="509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260761928" sldId="510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995437298" sldId="510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278107763" sldId="510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256595233" sldId="510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984936743" sldId="510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866004072" sldId="510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547464983" sldId="510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283587341" sldId="510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528242764" sldId="511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338050980" sldId="511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386703521" sldId="511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484305905" sldId="511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690630949" sldId="511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639048870" sldId="511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702059378" sldId="511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960063721" sldId="511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251412971" sldId="511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524465094" sldId="511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178308848" sldId="512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65403415" sldId="512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079593220" sldId="512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697772000" sldId="512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611425524" sldId="512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596970090" sldId="512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494176046" sldId="512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659556916" sldId="512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174152027" sldId="512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994865234" sldId="512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163154733" sldId="513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842723150" sldId="513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570285158" sldId="513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225657136" sldId="5133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888775459" sldId="513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577892612" sldId="513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948134683" sldId="513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180258097" sldId="513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178125052" sldId="513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51835039" sldId="514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567882260" sldId="514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855950291" sldId="514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842390125" sldId="5145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886514585" sldId="5166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230483934" sldId="516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683894262" sldId="516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224456114" sldId="517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176320443" sldId="517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434551724" sldId="517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360507255" sldId="5174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643963467" sldId="5177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109203217" sldId="5178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4217011617" sldId="5179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2585343477" sldId="5180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771677122" sldId="5181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1222875492" sldId="5182"/>
        </pc:sldMkLst>
      </pc:sldChg>
      <pc:sldChg chg="del">
        <pc:chgData name="Santos, Samara (ELS-CON)" userId="19ef437e-c748-4d7a-92ef-d0a7b3eec261" providerId="ADAL" clId="{5E6C02DE-F664-4A9B-AED7-D3C692FC71E0}" dt="2022-01-16T00:11:26.476" v="45" actId="47"/>
        <pc:sldMkLst>
          <pc:docMk/>
          <pc:sldMk cId="3816423802" sldId="5183"/>
        </pc:sldMkLst>
      </pc:sldChg>
      <pc:sldChg chg="delSp mod">
        <pc:chgData name="Santos, Samara (ELS-CON)" userId="19ef437e-c748-4d7a-92ef-d0a7b3eec261" providerId="ADAL" clId="{5E6C02DE-F664-4A9B-AED7-D3C692FC71E0}" dt="2022-01-16T00:30:19.028" v="46" actId="478"/>
        <pc:sldMkLst>
          <pc:docMk/>
          <pc:sldMk cId="2669879247" sldId="5187"/>
        </pc:sldMkLst>
        <pc:picChg chg="del">
          <ac:chgData name="Santos, Samara (ELS-CON)" userId="19ef437e-c748-4d7a-92ef-d0a7b3eec261" providerId="ADAL" clId="{5E6C02DE-F664-4A9B-AED7-D3C692FC71E0}" dt="2022-01-16T00:30:19.028" v="46" actId="478"/>
          <ac:picMkLst>
            <pc:docMk/>
            <pc:sldMk cId="2669879247" sldId="5187"/>
            <ac:picMk id="11" creationId="{D844F464-109D-4AFA-8831-335E5265ADA5}"/>
          </ac:picMkLst>
        </pc:picChg>
      </pc:sldChg>
      <pc:sldChg chg="modSp mod">
        <pc:chgData name="Santos, Samara (ELS-CON)" userId="19ef437e-c748-4d7a-92ef-d0a7b3eec261" providerId="ADAL" clId="{5E6C02DE-F664-4A9B-AED7-D3C692FC71E0}" dt="2022-01-24T19:01:25.663" v="80" actId="1038"/>
        <pc:sldMkLst>
          <pc:docMk/>
          <pc:sldMk cId="2509789162" sldId="5188"/>
        </pc:sldMkLst>
        <pc:spChg chg="mod">
          <ac:chgData name="Santos, Samara (ELS-CON)" userId="19ef437e-c748-4d7a-92ef-d0a7b3eec261" providerId="ADAL" clId="{5E6C02DE-F664-4A9B-AED7-D3C692FC71E0}" dt="2022-01-24T19:01:11.406" v="66" actId="1076"/>
          <ac:spMkLst>
            <pc:docMk/>
            <pc:sldMk cId="2509789162" sldId="5188"/>
            <ac:spMk id="12" creationId="{FEA500CF-DBC2-43D1-957B-5F2C99B4610F}"/>
          </ac:spMkLst>
        </pc:spChg>
        <pc:spChg chg="mod">
          <ac:chgData name="Santos, Samara (ELS-CON)" userId="19ef437e-c748-4d7a-92ef-d0a7b3eec261" providerId="ADAL" clId="{5E6C02DE-F664-4A9B-AED7-D3C692FC71E0}" dt="2022-01-24T19:01:25.663" v="80" actId="1038"/>
          <ac:spMkLst>
            <pc:docMk/>
            <pc:sldMk cId="2509789162" sldId="5188"/>
            <ac:spMk id="20" creationId="{9DADB906-E50F-418E-848C-82445A5F3D07}"/>
          </ac:spMkLst>
        </pc:spChg>
        <pc:picChg chg="mod">
          <ac:chgData name="Santos, Samara (ELS-CON)" userId="19ef437e-c748-4d7a-92ef-d0a7b3eec261" providerId="ADAL" clId="{5E6C02DE-F664-4A9B-AED7-D3C692FC71E0}" dt="2022-01-24T19:01:19.096" v="67" actId="1076"/>
          <ac:picMkLst>
            <pc:docMk/>
            <pc:sldMk cId="2509789162" sldId="5188"/>
            <ac:picMk id="14" creationId="{84C0EF52-C2F5-46F8-AF2E-9F7E70FBAA17}"/>
          </ac:picMkLst>
        </pc:picChg>
        <pc:picChg chg="mod">
          <ac:chgData name="Santos, Samara (ELS-CON)" userId="19ef437e-c748-4d7a-92ef-d0a7b3eec261" providerId="ADAL" clId="{5E6C02DE-F664-4A9B-AED7-D3C692FC71E0}" dt="2022-01-24T19:01:25.663" v="80" actId="1038"/>
          <ac:picMkLst>
            <pc:docMk/>
            <pc:sldMk cId="2509789162" sldId="5188"/>
            <ac:picMk id="18" creationId="{4A574303-29E6-4097-BA09-3D2FA38A86C2}"/>
          </ac:picMkLst>
        </pc:picChg>
      </pc:sldChg>
      <pc:sldChg chg="add del">
        <pc:chgData name="Santos, Samara (ELS-CON)" userId="19ef437e-c748-4d7a-92ef-d0a7b3eec261" providerId="ADAL" clId="{5E6C02DE-F664-4A9B-AED7-D3C692FC71E0}" dt="2022-01-16T16:27:28.224" v="47" actId="47"/>
        <pc:sldMkLst>
          <pc:docMk/>
          <pc:sldMk cId="557249636" sldId="5204"/>
        </pc:sldMkLst>
      </pc:sldChg>
      <pc:sldChg chg="addSp delSp modSp add mod">
        <pc:chgData name="Santos, Samara (ELS-CON)" userId="19ef437e-c748-4d7a-92ef-d0a7b3eec261" providerId="ADAL" clId="{5E6C02DE-F664-4A9B-AED7-D3C692FC71E0}" dt="2022-01-16T00:10:35.263" v="41" actId="1035"/>
        <pc:sldMkLst>
          <pc:docMk/>
          <pc:sldMk cId="3961548172" sldId="5205"/>
        </pc:sldMkLst>
        <pc:spChg chg="mod">
          <ac:chgData name="Santos, Samara (ELS-CON)" userId="19ef437e-c748-4d7a-92ef-d0a7b3eec261" providerId="ADAL" clId="{5E6C02DE-F664-4A9B-AED7-D3C692FC71E0}" dt="2022-01-16T00:08:31.419" v="4"/>
          <ac:spMkLst>
            <pc:docMk/>
            <pc:sldMk cId="3961548172" sldId="5205"/>
            <ac:spMk id="3" creationId="{AEC653D4-5144-45FA-AD7D-9063881BFD5B}"/>
          </ac:spMkLst>
        </pc:spChg>
        <pc:picChg chg="add mod modCrop">
          <ac:chgData name="Santos, Samara (ELS-CON)" userId="19ef437e-c748-4d7a-92ef-d0a7b3eec261" providerId="ADAL" clId="{5E6C02DE-F664-4A9B-AED7-D3C692FC71E0}" dt="2022-01-16T00:09:29.928" v="12" actId="732"/>
          <ac:picMkLst>
            <pc:docMk/>
            <pc:sldMk cId="3961548172" sldId="5205"/>
            <ac:picMk id="4" creationId="{3A0161D7-6E3C-4CA5-9FC4-341159A65D9A}"/>
          </ac:picMkLst>
        </pc:picChg>
        <pc:picChg chg="del">
          <ac:chgData name="Santos, Samara (ELS-CON)" userId="19ef437e-c748-4d7a-92ef-d0a7b3eec261" providerId="ADAL" clId="{5E6C02DE-F664-4A9B-AED7-D3C692FC71E0}" dt="2022-01-16T00:08:34.288" v="5" actId="478"/>
          <ac:picMkLst>
            <pc:docMk/>
            <pc:sldMk cId="3961548172" sldId="5205"/>
            <ac:picMk id="8" creationId="{3CDDDE57-85F8-44A8-BC3F-6755BE3A1A2C}"/>
          </ac:picMkLst>
        </pc:picChg>
        <pc:cxnChg chg="add mod">
          <ac:chgData name="Santos, Samara (ELS-CON)" userId="19ef437e-c748-4d7a-92ef-d0a7b3eec261" providerId="ADAL" clId="{5E6C02DE-F664-4A9B-AED7-D3C692FC71E0}" dt="2022-01-16T00:10:04.087" v="17" actId="14100"/>
          <ac:cxnSpMkLst>
            <pc:docMk/>
            <pc:sldMk cId="3961548172" sldId="5205"/>
            <ac:cxnSpMk id="9" creationId="{DC4CE18F-2479-4A35-AE5B-D3489676BEAB}"/>
          </ac:cxnSpMkLst>
        </pc:cxnChg>
        <pc:cxnChg chg="add mod">
          <ac:chgData name="Santos, Samara (ELS-CON)" userId="19ef437e-c748-4d7a-92ef-d0a7b3eec261" providerId="ADAL" clId="{5E6C02DE-F664-4A9B-AED7-D3C692FC71E0}" dt="2022-01-16T00:10:24.175" v="28" actId="1035"/>
          <ac:cxnSpMkLst>
            <pc:docMk/>
            <pc:sldMk cId="3961548172" sldId="5205"/>
            <ac:cxnSpMk id="12" creationId="{BB1FE27B-73A8-4063-8976-7E40213E85BB}"/>
          </ac:cxnSpMkLst>
        </pc:cxnChg>
        <pc:cxnChg chg="add mod">
          <ac:chgData name="Santos, Samara (ELS-CON)" userId="19ef437e-c748-4d7a-92ef-d0a7b3eec261" providerId="ADAL" clId="{5E6C02DE-F664-4A9B-AED7-D3C692FC71E0}" dt="2022-01-16T00:10:35.263" v="41" actId="1035"/>
          <ac:cxnSpMkLst>
            <pc:docMk/>
            <pc:sldMk cId="3961548172" sldId="5205"/>
            <ac:cxnSpMk id="14" creationId="{5F3EF2A2-14C0-4321-AC23-03D5C29DD3D7}"/>
          </ac:cxnSpMkLst>
        </pc:cxnChg>
      </pc:sldChg>
      <pc:sldChg chg="add">
        <pc:chgData name="Santos, Samara (ELS-CON)" userId="19ef437e-c748-4d7a-92ef-d0a7b3eec261" providerId="ADAL" clId="{5E6C02DE-F664-4A9B-AED7-D3C692FC71E0}" dt="2022-01-16T00:11:07.757" v="43"/>
        <pc:sldMkLst>
          <pc:docMk/>
          <pc:sldMk cId="3236244172" sldId="5213"/>
        </pc:sldMkLst>
      </pc:sldChg>
      <pc:sldChg chg="add">
        <pc:chgData name="Santos, Samara (ELS-CON)" userId="19ef437e-c748-4d7a-92ef-d0a7b3eec261" providerId="ADAL" clId="{5E6C02DE-F664-4A9B-AED7-D3C692FC71E0}" dt="2022-01-16T00:11:07.757" v="43"/>
        <pc:sldMkLst>
          <pc:docMk/>
          <pc:sldMk cId="2942840444" sldId="5214"/>
        </pc:sldMkLst>
      </pc:sldChg>
      <pc:sldMasterChg chg="delSldLayout">
        <pc:chgData name="Santos, Samara (ELS-CON)" userId="19ef437e-c748-4d7a-92ef-d0a7b3eec261" providerId="ADAL" clId="{5E6C02DE-F664-4A9B-AED7-D3C692FC71E0}" dt="2022-01-16T00:11:11.527" v="44" actId="47"/>
        <pc:sldMasterMkLst>
          <pc:docMk/>
          <pc:sldMasterMk cId="1127558550" sldId="2147483648"/>
        </pc:sldMasterMkLst>
        <pc:sldLayoutChg chg="del">
          <pc:chgData name="Santos, Samara (ELS-CON)" userId="19ef437e-c748-4d7a-92ef-d0a7b3eec261" providerId="ADAL" clId="{5E6C02DE-F664-4A9B-AED7-D3C692FC71E0}" dt="2022-01-16T00:11:11.527" v="44" actId="47"/>
          <pc:sldLayoutMkLst>
            <pc:docMk/>
            <pc:sldMasterMk cId="1127558550" sldId="2147483648"/>
            <pc:sldLayoutMk cId="1461909570" sldId="2147483805"/>
          </pc:sldLayoutMkLst>
        </pc:sldLayoutChg>
        <pc:sldLayoutChg chg="del">
          <pc:chgData name="Santos, Samara (ELS-CON)" userId="19ef437e-c748-4d7a-92ef-d0a7b3eec261" providerId="ADAL" clId="{5E6C02DE-F664-4A9B-AED7-D3C692FC71E0}" dt="2022-01-15T22:35:02.706" v="0" actId="47"/>
          <pc:sldLayoutMkLst>
            <pc:docMk/>
            <pc:sldMasterMk cId="1127558550" sldId="2147483648"/>
            <pc:sldLayoutMk cId="4234344322" sldId="2147483805"/>
          </pc:sldLayoutMkLst>
        </pc:sldLayoutChg>
        <pc:sldLayoutChg chg="del">
          <pc:chgData name="Santos, Samara (ELS-CON)" userId="19ef437e-c748-4d7a-92ef-d0a7b3eec261" providerId="ADAL" clId="{5E6C02DE-F664-4A9B-AED7-D3C692FC71E0}" dt="2022-01-16T00:11:11.527" v="44" actId="47"/>
          <pc:sldLayoutMkLst>
            <pc:docMk/>
            <pc:sldMasterMk cId="1127558550" sldId="2147483648"/>
            <pc:sldLayoutMk cId="2894621298" sldId="214748380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11/04/2022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nº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11/04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Dark grey font on light background</a:t>
            </a:r>
          </a:p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9804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0773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5910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pt-BR" noProof="0"/>
              <a:t>Clique no ícone para adicionar tabela</a:t>
            </a:r>
            <a:endParaRPr lang="en-GB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GB" noProof="0" dirty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GB" dirty="0"/>
              <a:t>Drag </a:t>
            </a:r>
            <a:r>
              <a:rPr lang="en-GB" noProof="0" dirty="0"/>
              <a:t>picture</a:t>
            </a:r>
            <a:r>
              <a:rPr lang="en-GB" dirty="0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Department</a:t>
            </a:r>
            <a:br>
              <a:rPr lang="en-GB" dirty="0"/>
            </a:br>
            <a:r>
              <a:rPr lang="en-GB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Click to edit title</a:t>
            </a:r>
            <a:br>
              <a:rPr lang="en-GB" dirty="0"/>
            </a:br>
            <a:r>
              <a:rPr lang="en-GB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GB" dirty="0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</a:t>
            </a:r>
            <a:br>
              <a:rPr lang="en-GB" noProof="0" dirty="0"/>
            </a:br>
            <a:r>
              <a:rPr lang="en-GB" noProof="0" dirty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GB" noProof="0" dirty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rag picture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rag </a:t>
            </a:r>
            <a:r>
              <a:rPr lang="en-GB" noProof="0" dirty="0"/>
              <a:t>picture</a:t>
            </a:r>
            <a:r>
              <a:rPr lang="en-GB" dirty="0"/>
              <a:t>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GB" dirty="0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Department</a:t>
            </a:r>
            <a:br>
              <a:rPr lang="en-GB" dirty="0"/>
            </a:br>
            <a:r>
              <a:rPr lang="en-GB" dirty="0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Fourth level</a:t>
            </a:r>
          </a:p>
          <a:p>
            <a:pPr lvl="0"/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GB" noProof="0" dirty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GB" dirty="0"/>
              <a:t>Month, year</a:t>
            </a:r>
            <a:br>
              <a:rPr lang="en-GB" dirty="0"/>
            </a:br>
            <a:r>
              <a:rPr lang="en-GB" dirty="0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GB" noProof="0" dirty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GB" dirty="0"/>
              <a:t>Click to edit title</a:t>
            </a:r>
            <a:br>
              <a:rPr lang="en-GB" dirty="0"/>
            </a:br>
            <a:r>
              <a:rPr lang="en-GB" dirty="0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GB" dirty="0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pt-BR"/>
              <a:t>Clique para editar os estilos de texto Mestr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pt-BR" noProof="0"/>
              <a:t>Clique para editar o título Mestr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noProof="0"/>
              <a:t>Clique para editar os estilos de texto Mestres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GB" noProof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treinamento-rso@elsevier.com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chvalidate.com/tvid/9D4-230-2AD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5" Type="http://schemas.openxmlformats.org/officeDocument/2006/relationships/image" Target="../media/image30.pn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Mulher sentada em frente a janela&#10;&#10;Descrição gerada automaticamente">
            <a:extLst>
              <a:ext uri="{FF2B5EF4-FFF2-40B4-BE49-F238E27FC236}">
                <a16:creationId xmlns:a16="http://schemas.microsoft.com/office/drawing/2014/main" id="{D0E0F8D8-BB7E-410B-840E-4C28425F13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89" b="8789"/>
          <a:stretch/>
        </p:blipFill>
        <p:spPr>
          <a:xfrm>
            <a:off x="0" y="0"/>
            <a:ext cx="9155685" cy="5143500"/>
          </a:xfrm>
          <a:prstGeom prst="rect">
            <a:avLst/>
          </a:prstGeom>
        </p:spPr>
      </p:pic>
      <p:pic>
        <p:nvPicPr>
          <p:cNvPr id="10" name="Imagem 9" descr="Padrão do plano de fundo&#10;&#10;Descrição gerada automaticamente">
            <a:extLst>
              <a:ext uri="{FF2B5EF4-FFF2-40B4-BE49-F238E27FC236}">
                <a16:creationId xmlns:a16="http://schemas.microsoft.com/office/drawing/2014/main" id="{AF54FD41-76C3-4114-B432-C2C7998FB8EF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349206" cy="51435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E2E4F3-B3DF-4957-B569-881FBA8B7A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263" y="4411227"/>
            <a:ext cx="5112709" cy="490001"/>
          </a:xfrm>
        </p:spPr>
        <p:txBody>
          <a:bodyPr/>
          <a:lstStyle/>
          <a:p>
            <a:r>
              <a:rPr lang="en-GB" dirty="0"/>
              <a:t>Janeiro, 2022</a:t>
            </a:r>
          </a:p>
        </p:txBody>
      </p:sp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8E1C10AB-A891-4BE9-B83D-C68AB1A5CC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264" y="2254102"/>
            <a:ext cx="3517271" cy="1996165"/>
          </a:xfrm>
        </p:spPr>
        <p:txBody>
          <a:bodyPr/>
          <a:lstStyle/>
          <a:p>
            <a:r>
              <a:rPr lang="en-GB" dirty="0">
                <a:solidFill>
                  <a:srgbClr val="53565A"/>
                </a:solidFill>
              </a:rPr>
              <a:t>A principal </a:t>
            </a:r>
            <a:r>
              <a:rPr lang="en-GB" dirty="0" err="1">
                <a:solidFill>
                  <a:srgbClr val="53565A"/>
                </a:solidFill>
              </a:rPr>
              <a:t>plataforma</a:t>
            </a:r>
            <a:r>
              <a:rPr lang="en-GB" dirty="0">
                <a:solidFill>
                  <a:srgbClr val="53565A"/>
                </a:solidFill>
              </a:rPr>
              <a:t> de </a:t>
            </a:r>
            <a:r>
              <a:rPr lang="en-GB" dirty="0" err="1">
                <a:solidFill>
                  <a:srgbClr val="53565A"/>
                </a:solidFill>
              </a:rPr>
              <a:t>textos</a:t>
            </a:r>
            <a:r>
              <a:rPr lang="en-GB" dirty="0">
                <a:solidFill>
                  <a:srgbClr val="53565A"/>
                </a:solidFill>
              </a:rPr>
              <a:t> </a:t>
            </a:r>
            <a:r>
              <a:rPr lang="en-GB" dirty="0" err="1">
                <a:solidFill>
                  <a:srgbClr val="53565A"/>
                </a:solidFill>
              </a:rPr>
              <a:t>completos</a:t>
            </a:r>
            <a:r>
              <a:rPr lang="en-GB" dirty="0">
                <a:solidFill>
                  <a:srgbClr val="53565A"/>
                </a:solidFill>
              </a:rPr>
              <a:t> de </a:t>
            </a:r>
            <a:r>
              <a:rPr lang="en-GB" dirty="0" err="1">
                <a:solidFill>
                  <a:srgbClr val="53565A"/>
                </a:solidFill>
              </a:rPr>
              <a:t>literatura</a:t>
            </a:r>
            <a:r>
              <a:rPr lang="en-GB" dirty="0">
                <a:solidFill>
                  <a:srgbClr val="53565A"/>
                </a:solidFill>
              </a:rPr>
              <a:t> </a:t>
            </a:r>
            <a:r>
              <a:rPr lang="en-GB" dirty="0" err="1">
                <a:solidFill>
                  <a:srgbClr val="53565A"/>
                </a:solidFill>
              </a:rPr>
              <a:t>acadêmica</a:t>
            </a:r>
            <a:r>
              <a:rPr lang="en-GB" dirty="0">
                <a:solidFill>
                  <a:srgbClr val="53565A"/>
                </a:solidFill>
              </a:rPr>
              <a:t> </a:t>
            </a:r>
            <a:r>
              <a:rPr lang="en-GB" dirty="0" err="1">
                <a:solidFill>
                  <a:srgbClr val="53565A"/>
                </a:solidFill>
              </a:rPr>
              <a:t>revisada</a:t>
            </a:r>
            <a:r>
              <a:rPr lang="en-GB" dirty="0">
                <a:solidFill>
                  <a:srgbClr val="53565A"/>
                </a:solidFill>
              </a:rPr>
              <a:t> por pares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4759F9D-9DAB-44A4-9143-919193196E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16" name="ScienceDirect">
            <a:extLst>
              <a:ext uri="{FF2B5EF4-FFF2-40B4-BE49-F238E27FC236}">
                <a16:creationId xmlns:a16="http://schemas.microsoft.com/office/drawing/2014/main" id="{2E506D6E-C9AF-45E8-901E-D0DF36E72F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6263" y="1592990"/>
            <a:ext cx="3437002" cy="427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5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en-GB" dirty="0" err="1"/>
              <a:t>Detalhes</a:t>
            </a:r>
            <a:r>
              <a:rPr lang="en-GB" dirty="0"/>
              <a:t> do </a:t>
            </a:r>
            <a:r>
              <a:rPr lang="en-GB" dirty="0" err="1"/>
              <a:t>documento</a:t>
            </a:r>
            <a:endParaRPr lang="en-GB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032FEA6-FE31-44D1-AE32-C856BFF35F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317" r="1047" b="5439"/>
          <a:stretch/>
        </p:blipFill>
        <p:spPr>
          <a:xfrm>
            <a:off x="0" y="773519"/>
            <a:ext cx="9120510" cy="4365555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16DAB23B-DEBC-4B56-96A9-4CEDD74EC362}"/>
              </a:ext>
            </a:extLst>
          </p:cNvPr>
          <p:cNvSpPr/>
          <p:nvPr/>
        </p:nvSpPr>
        <p:spPr>
          <a:xfrm>
            <a:off x="2541181" y="3338623"/>
            <a:ext cx="3955312" cy="9017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AB6655D-8AEC-407A-A6B1-8B23FD8E68C3}"/>
              </a:ext>
            </a:extLst>
          </p:cNvPr>
          <p:cNvSpPr txBox="1"/>
          <p:nvPr/>
        </p:nvSpPr>
        <p:spPr>
          <a:xfrm>
            <a:off x="3271719" y="3275655"/>
            <a:ext cx="242733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Acesse de forma rápida partes do documento, suas figuras e tabelas.</a:t>
            </a:r>
          </a:p>
        </p:txBody>
      </p:sp>
      <p:sp>
        <p:nvSpPr>
          <p:cNvPr id="5" name="Chave Direita 4">
            <a:extLst>
              <a:ext uri="{FF2B5EF4-FFF2-40B4-BE49-F238E27FC236}">
                <a16:creationId xmlns:a16="http://schemas.microsoft.com/office/drawing/2014/main" id="{D924CF16-FD42-4B72-9829-19B946C8C26E}"/>
              </a:ext>
            </a:extLst>
          </p:cNvPr>
          <p:cNvSpPr/>
          <p:nvPr/>
        </p:nvSpPr>
        <p:spPr>
          <a:xfrm>
            <a:off x="1977654" y="1648047"/>
            <a:ext cx="1063256" cy="3491027"/>
          </a:xfrm>
          <a:prstGeom prst="rightBrace">
            <a:avLst>
              <a:gd name="adj1" fmla="val 10333"/>
              <a:gd name="adj2" fmla="val 58528"/>
            </a:avLst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22D7251B-8F2A-40D2-A091-15A9D146B318}"/>
              </a:ext>
            </a:extLst>
          </p:cNvPr>
          <p:cNvSpPr/>
          <p:nvPr/>
        </p:nvSpPr>
        <p:spPr>
          <a:xfrm>
            <a:off x="6613015" y="2571750"/>
            <a:ext cx="2141124" cy="127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7" name="Chave Direita 6">
            <a:extLst>
              <a:ext uri="{FF2B5EF4-FFF2-40B4-BE49-F238E27FC236}">
                <a16:creationId xmlns:a16="http://schemas.microsoft.com/office/drawing/2014/main" id="{D996430B-D042-4D0B-9EE9-47F19099F027}"/>
              </a:ext>
            </a:extLst>
          </p:cNvPr>
          <p:cNvSpPr/>
          <p:nvPr/>
        </p:nvSpPr>
        <p:spPr>
          <a:xfrm rot="16200000">
            <a:off x="7393540" y="2847314"/>
            <a:ext cx="607989" cy="2141125"/>
          </a:xfrm>
          <a:prstGeom prst="rightBrace">
            <a:avLst/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E132367-2038-4C2E-89D4-62AD5242E70B}"/>
              </a:ext>
            </a:extLst>
          </p:cNvPr>
          <p:cNvSpPr txBox="1"/>
          <p:nvPr/>
        </p:nvSpPr>
        <p:spPr>
          <a:xfrm>
            <a:off x="6711137" y="2946488"/>
            <a:ext cx="22534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Acesse métricas de popularidade do artigo.</a:t>
            </a:r>
          </a:p>
        </p:txBody>
      </p:sp>
    </p:spTree>
    <p:extLst>
      <p:ext uri="{BB962C8B-B14F-4D97-AF65-F5344CB8AC3E}">
        <p14:creationId xmlns:p14="http://schemas.microsoft.com/office/powerpoint/2010/main" val="114878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817F9370-563E-44B3-9AED-39A861C45F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1240132"/>
          </a:xfrm>
        </p:spPr>
        <p:txBody>
          <a:bodyPr/>
          <a:lstStyle/>
          <a:p>
            <a:r>
              <a:rPr lang="pt-BR" dirty="0" err="1"/>
              <a:t>PlumX</a:t>
            </a:r>
            <a:r>
              <a:rPr lang="pt-BR" dirty="0"/>
              <a:t>: Métricas dedicadas exclusivamente a documentos de informação científica</a:t>
            </a:r>
            <a:br>
              <a:rPr lang="pt-BR" dirty="0"/>
            </a:br>
            <a:endParaRPr lang="es-419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42B129B-85A1-41ED-A854-C5CDFAF032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97" b="11617"/>
          <a:stretch/>
        </p:blipFill>
        <p:spPr>
          <a:xfrm>
            <a:off x="0" y="1175271"/>
            <a:ext cx="9144000" cy="4045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19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D0C1943D-0D60-4223-A3C7-C91A2C35C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talhes do documento</a:t>
            </a:r>
            <a:endParaRPr lang="es-419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C245E96-4042-43C1-B82D-6CA34F8AF8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267" t="9564" r="990" b="14921"/>
          <a:stretch/>
        </p:blipFill>
        <p:spPr>
          <a:xfrm>
            <a:off x="0" y="667980"/>
            <a:ext cx="9144000" cy="4475520"/>
          </a:xfrm>
          <a:prstGeom prst="rect">
            <a:avLst/>
          </a:prstGeom>
        </p:spPr>
      </p:pic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FB38740A-955C-4DAD-9B88-FA406A1CADE1}"/>
              </a:ext>
            </a:extLst>
          </p:cNvPr>
          <p:cNvCxnSpPr>
            <a:cxnSpLocks/>
          </p:cNvCxnSpPr>
          <p:nvPr/>
        </p:nvCxnSpPr>
        <p:spPr>
          <a:xfrm>
            <a:off x="6143093" y="2516905"/>
            <a:ext cx="390054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>
            <a:extLst>
              <a:ext uri="{FF2B5EF4-FFF2-40B4-BE49-F238E27FC236}">
                <a16:creationId xmlns:a16="http://schemas.microsoft.com/office/drawing/2014/main" id="{57134DBF-A073-4C52-91E4-BE6FF3F8027C}"/>
              </a:ext>
            </a:extLst>
          </p:cNvPr>
          <p:cNvSpPr txBox="1"/>
          <p:nvPr/>
        </p:nvSpPr>
        <p:spPr>
          <a:xfrm>
            <a:off x="6280485" y="3609744"/>
            <a:ext cx="24513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b="1" dirty="0"/>
              <a:t>Clique nas citações em formato de hyperlink para obter mais informações sobre a mesma.</a:t>
            </a:r>
          </a:p>
        </p:txBody>
      </p:sp>
    </p:spTree>
    <p:extLst>
      <p:ext uri="{BB962C8B-B14F-4D97-AF65-F5344CB8AC3E}">
        <p14:creationId xmlns:p14="http://schemas.microsoft.com/office/powerpoint/2010/main" val="186089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658C8C7E-838E-4474-BD6A-52A66A81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Topic</a:t>
            </a:r>
            <a:r>
              <a:rPr lang="pt-BR" dirty="0"/>
              <a:t> </a:t>
            </a:r>
            <a:r>
              <a:rPr lang="pt-BR" dirty="0" err="1"/>
              <a:t>pages</a:t>
            </a:r>
            <a:endParaRPr lang="es-419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9A49FD31-1AB1-4E5C-A6CD-B323974E46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813517"/>
            <a:ext cx="4451684" cy="4366075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9A65BDEC-0FF0-4AEB-B916-701A192235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1554" y="835024"/>
            <a:ext cx="4636055" cy="4344567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2A4E10E7-FC70-4BEC-B3CC-F68AD15411DC}"/>
              </a:ext>
            </a:extLst>
          </p:cNvPr>
          <p:cNvSpPr/>
          <p:nvPr/>
        </p:nvSpPr>
        <p:spPr>
          <a:xfrm>
            <a:off x="1914525" y="3476625"/>
            <a:ext cx="352425" cy="180975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836EEE8A-EAD9-4A2C-99C5-76499BA79A38}"/>
              </a:ext>
            </a:extLst>
          </p:cNvPr>
          <p:cNvCxnSpPr>
            <a:cxnSpLocks/>
          </p:cNvCxnSpPr>
          <p:nvPr/>
        </p:nvCxnSpPr>
        <p:spPr>
          <a:xfrm flipV="1">
            <a:off x="2266950" y="3152775"/>
            <a:ext cx="2184735" cy="33568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14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3744EEB5-CED2-4DB6-BA3E-E0E916492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ágina do PDF</a:t>
            </a:r>
            <a:endParaRPr lang="es-419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11AFCA0-27AA-43AE-9BDA-298724756E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97" r="1962" b="30335"/>
          <a:stretch/>
        </p:blipFill>
        <p:spPr>
          <a:xfrm>
            <a:off x="0" y="1998845"/>
            <a:ext cx="9144000" cy="314465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3D20C06A-D9E9-47AF-BFF7-156337F489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317" r="1047" b="73423"/>
          <a:stretch/>
        </p:blipFill>
        <p:spPr>
          <a:xfrm>
            <a:off x="0" y="773520"/>
            <a:ext cx="9120510" cy="842630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9C891869-17DD-49D1-9219-B331CF202930}"/>
              </a:ext>
            </a:extLst>
          </p:cNvPr>
          <p:cNvSpPr/>
          <p:nvPr/>
        </p:nvSpPr>
        <p:spPr>
          <a:xfrm>
            <a:off x="2531213" y="1245318"/>
            <a:ext cx="849940" cy="360200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cxnSp>
        <p:nvCxnSpPr>
          <p:cNvPr id="9" name="Conector de Seta Reta 8">
            <a:extLst>
              <a:ext uri="{FF2B5EF4-FFF2-40B4-BE49-F238E27FC236}">
                <a16:creationId xmlns:a16="http://schemas.microsoft.com/office/drawing/2014/main" id="{808DC53A-B6A7-4FD1-867E-B10B7C410FAE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2956183" y="1605518"/>
            <a:ext cx="0" cy="637952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D1571C1D-CBF3-4CEA-9947-2DE352A6CC51}"/>
              </a:ext>
            </a:extLst>
          </p:cNvPr>
          <p:cNvSpPr txBox="1"/>
          <p:nvPr/>
        </p:nvSpPr>
        <p:spPr>
          <a:xfrm>
            <a:off x="1435399" y="2422977"/>
            <a:ext cx="36948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Acesse de forma rápida a partes do seu documento PDF, imprima ou salve em seu dispositivo.</a:t>
            </a:r>
          </a:p>
        </p:txBody>
      </p:sp>
    </p:spTree>
    <p:extLst>
      <p:ext uri="{BB962C8B-B14F-4D97-AF65-F5344CB8AC3E}">
        <p14:creationId xmlns:p14="http://schemas.microsoft.com/office/powerpoint/2010/main" val="212151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Busca </a:t>
            </a:r>
            <a:r>
              <a:rPr lang="es-419" dirty="0" err="1"/>
              <a:t>avançada</a:t>
            </a:r>
            <a:r>
              <a:rPr lang="es-419" dirty="0"/>
              <a:t> no </a:t>
            </a:r>
            <a:r>
              <a:rPr lang="es-419" dirty="0" err="1"/>
              <a:t>ScienceDirect</a:t>
            </a:r>
            <a:endParaRPr lang="es-419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492034F-15EE-48B7-8541-62AA04739E4B}"/>
              </a:ext>
            </a:extLst>
          </p:cNvPr>
          <p:cNvSpPr txBox="1"/>
          <p:nvPr/>
        </p:nvSpPr>
        <p:spPr>
          <a:xfrm>
            <a:off x="1687929" y="1010328"/>
            <a:ext cx="51934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Faça buscas preenchendo um ou mais dos seguintes campos: termos, nome do autor, título da publicação, volume, edição e página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BE0C240-9347-4CA3-981D-01C305D783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903" r="1290" b="11589"/>
          <a:stretch/>
        </p:blipFill>
        <p:spPr>
          <a:xfrm>
            <a:off x="0" y="1054735"/>
            <a:ext cx="9144000" cy="4088765"/>
          </a:xfrm>
          <a:prstGeom prst="rect">
            <a:avLst/>
          </a:prstGeom>
        </p:spPr>
      </p:pic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57A5D975-7A6D-403E-93E0-9515B384152D}"/>
              </a:ext>
            </a:extLst>
          </p:cNvPr>
          <p:cNvCxnSpPr>
            <a:cxnSpLocks/>
          </p:cNvCxnSpPr>
          <p:nvPr/>
        </p:nvCxnSpPr>
        <p:spPr>
          <a:xfrm flipH="1">
            <a:off x="7209204" y="2211569"/>
            <a:ext cx="286748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042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88CEB94B-09F0-49F5-BE12-2F4277F76F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903" r="1962" b="5508"/>
          <a:stretch/>
        </p:blipFill>
        <p:spPr>
          <a:xfrm>
            <a:off x="0" y="723023"/>
            <a:ext cx="9148407" cy="4437874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Busca </a:t>
            </a:r>
            <a:r>
              <a:rPr lang="es-419" dirty="0" err="1"/>
              <a:t>avançada</a:t>
            </a:r>
            <a:r>
              <a:rPr lang="es-419" dirty="0"/>
              <a:t> no </a:t>
            </a:r>
            <a:r>
              <a:rPr lang="es-419" dirty="0" err="1"/>
              <a:t>ScienceDirect</a:t>
            </a:r>
            <a:endParaRPr lang="es-419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492034F-15EE-48B7-8541-62AA04739E4B}"/>
              </a:ext>
            </a:extLst>
          </p:cNvPr>
          <p:cNvSpPr txBox="1"/>
          <p:nvPr/>
        </p:nvSpPr>
        <p:spPr>
          <a:xfrm>
            <a:off x="6929781" y="2234505"/>
            <a:ext cx="212916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A busca avançada facilita a elaboração de uma estratégia de busca mais eficaz, com a utilização dos operadores lógicos e permitindo a busca em campos específicos do documento. </a:t>
            </a:r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57A5D975-7A6D-403E-93E0-9515B384152D}"/>
              </a:ext>
            </a:extLst>
          </p:cNvPr>
          <p:cNvCxnSpPr>
            <a:cxnSpLocks/>
          </p:cNvCxnSpPr>
          <p:nvPr/>
        </p:nvCxnSpPr>
        <p:spPr>
          <a:xfrm flipH="1">
            <a:off x="6929781" y="4912238"/>
            <a:ext cx="286748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988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CC7303A1-7004-4281-B0B3-5C21EA5B1D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037" t="10523" r="1962" b="6255"/>
          <a:stretch/>
        </p:blipFill>
        <p:spPr>
          <a:xfrm>
            <a:off x="0" y="865112"/>
            <a:ext cx="4572000" cy="4278387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2E70D78D-A6EB-4EA7-AF81-F3B5002C3E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16" t="11744" r="25785" b="4450"/>
          <a:stretch/>
        </p:blipFill>
        <p:spPr>
          <a:xfrm>
            <a:off x="4572000" y="835025"/>
            <a:ext cx="4572000" cy="430847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Seu histórico no </a:t>
            </a:r>
            <a:r>
              <a:rPr lang="es-419" dirty="0" err="1"/>
              <a:t>ScienceDirect</a:t>
            </a:r>
            <a:endParaRPr lang="es-419" dirty="0"/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57A5D975-7A6D-403E-93E0-9515B384152D}"/>
              </a:ext>
            </a:extLst>
          </p:cNvPr>
          <p:cNvCxnSpPr>
            <a:cxnSpLocks/>
          </p:cNvCxnSpPr>
          <p:nvPr/>
        </p:nvCxnSpPr>
        <p:spPr>
          <a:xfrm>
            <a:off x="4380908" y="1180210"/>
            <a:ext cx="1062962" cy="54226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032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Seu histórico no </a:t>
            </a:r>
            <a:r>
              <a:rPr lang="es-419" dirty="0" err="1"/>
              <a:t>ScienceDirect</a:t>
            </a:r>
            <a:endParaRPr lang="es-419" dirty="0"/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57A5D975-7A6D-403E-93E0-9515B384152D}"/>
              </a:ext>
            </a:extLst>
          </p:cNvPr>
          <p:cNvCxnSpPr>
            <a:cxnSpLocks/>
          </p:cNvCxnSpPr>
          <p:nvPr/>
        </p:nvCxnSpPr>
        <p:spPr>
          <a:xfrm>
            <a:off x="4380908" y="1180210"/>
            <a:ext cx="1062962" cy="54226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m 4">
            <a:extLst>
              <a:ext uri="{FF2B5EF4-FFF2-40B4-BE49-F238E27FC236}">
                <a16:creationId xmlns:a16="http://schemas.microsoft.com/office/drawing/2014/main" id="{83DAC671-A376-4876-8ABC-265673B0639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731" b="11092"/>
          <a:stretch/>
        </p:blipFill>
        <p:spPr>
          <a:xfrm>
            <a:off x="0" y="1124393"/>
            <a:ext cx="9144000" cy="401910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9900481E-DA29-4A0A-BA10-C4B71A657AFC}"/>
              </a:ext>
            </a:extLst>
          </p:cNvPr>
          <p:cNvSpPr/>
          <p:nvPr/>
        </p:nvSpPr>
        <p:spPr>
          <a:xfrm>
            <a:off x="6624084" y="2668772"/>
            <a:ext cx="1148316" cy="478465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</p:spTree>
    <p:extLst>
      <p:ext uri="{BB962C8B-B14F-4D97-AF65-F5344CB8AC3E}">
        <p14:creationId xmlns:p14="http://schemas.microsoft.com/office/powerpoint/2010/main" val="182676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Seu histórico de busca</a:t>
            </a:r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57A5D975-7A6D-403E-93E0-9515B384152D}"/>
              </a:ext>
            </a:extLst>
          </p:cNvPr>
          <p:cNvCxnSpPr>
            <a:cxnSpLocks/>
          </p:cNvCxnSpPr>
          <p:nvPr/>
        </p:nvCxnSpPr>
        <p:spPr>
          <a:xfrm>
            <a:off x="4380908" y="1180210"/>
            <a:ext cx="1062962" cy="54226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ângulo 6">
            <a:extLst>
              <a:ext uri="{FF2B5EF4-FFF2-40B4-BE49-F238E27FC236}">
                <a16:creationId xmlns:a16="http://schemas.microsoft.com/office/drawing/2014/main" id="{9900481E-DA29-4A0A-BA10-C4B71A657AFC}"/>
              </a:ext>
            </a:extLst>
          </p:cNvPr>
          <p:cNvSpPr/>
          <p:nvPr/>
        </p:nvSpPr>
        <p:spPr>
          <a:xfrm>
            <a:off x="6624084" y="2668772"/>
            <a:ext cx="1148316" cy="478465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CDDDE57-85F8-44A8-BC3F-6755BE3A1A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015" r="1962" b="5838"/>
          <a:stretch/>
        </p:blipFill>
        <p:spPr>
          <a:xfrm>
            <a:off x="0" y="700088"/>
            <a:ext cx="9181120" cy="4430530"/>
          </a:xfrm>
          <a:prstGeom prst="rect">
            <a:avLst/>
          </a:prstGeom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545FF381-5558-4989-9C28-825A53C0169B}"/>
              </a:ext>
            </a:extLst>
          </p:cNvPr>
          <p:cNvSpPr/>
          <p:nvPr/>
        </p:nvSpPr>
        <p:spPr>
          <a:xfrm>
            <a:off x="939208" y="2936619"/>
            <a:ext cx="7375451" cy="859204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</p:spTree>
    <p:extLst>
      <p:ext uri="{BB962C8B-B14F-4D97-AF65-F5344CB8AC3E}">
        <p14:creationId xmlns:p14="http://schemas.microsoft.com/office/powerpoint/2010/main" val="55648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m 29">
            <a:extLst>
              <a:ext uri="{FF2B5EF4-FFF2-40B4-BE49-F238E27FC236}">
                <a16:creationId xmlns:a16="http://schemas.microsoft.com/office/drawing/2014/main" id="{CA4E187F-881B-4F23-BAE0-9BFA5F49B0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765" t="4745" r="4915" b="60579"/>
          <a:stretch/>
        </p:blipFill>
        <p:spPr>
          <a:xfrm>
            <a:off x="6419736" y="2129277"/>
            <a:ext cx="577876" cy="653285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9DBF528E-D34C-472E-B003-43E8B2B470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2350" t="5061" r="21330" b="60263"/>
          <a:stretch/>
        </p:blipFill>
        <p:spPr>
          <a:xfrm>
            <a:off x="3325864" y="2115442"/>
            <a:ext cx="577876" cy="65328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06D0DBD3-7A36-4658-AB02-194A71691C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04" t="6530" r="91076" b="58794"/>
          <a:stretch/>
        </p:blipFill>
        <p:spPr>
          <a:xfrm>
            <a:off x="640189" y="945604"/>
            <a:ext cx="577876" cy="653285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36E4B881-2007-4B3B-839A-4F8D6795AA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59" t="6530" r="74063" b="58794"/>
          <a:stretch/>
        </p:blipFill>
        <p:spPr>
          <a:xfrm>
            <a:off x="3378034" y="913143"/>
            <a:ext cx="494376" cy="724060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D7E547E-9CA0-4F0A-B7BD-3ACE3A8B8336}"/>
              </a:ext>
            </a:extLst>
          </p:cNvPr>
          <p:cNvSpPr txBox="1"/>
          <p:nvPr/>
        </p:nvSpPr>
        <p:spPr>
          <a:xfrm>
            <a:off x="1266989" y="1009402"/>
            <a:ext cx="18762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FF8400"/>
                </a:solidFill>
              </a:rPr>
              <a:t>+18 milhões </a:t>
            </a:r>
            <a:r>
              <a:rPr lang="pt-BR" sz="1600" dirty="0">
                <a:solidFill>
                  <a:srgbClr val="53565A"/>
                </a:solidFill>
              </a:rPr>
              <a:t>de</a:t>
            </a:r>
            <a:r>
              <a:rPr lang="pt-BR" sz="1600" dirty="0">
                <a:solidFill>
                  <a:srgbClr val="FF8400"/>
                </a:solidFill>
              </a:rPr>
              <a:t> </a:t>
            </a:r>
            <a:r>
              <a:rPr lang="es-419" sz="1600" dirty="0" err="1"/>
              <a:t>artigos</a:t>
            </a:r>
            <a:r>
              <a:rPr lang="es-419" sz="1600" dirty="0"/>
              <a:t> e capítulos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379A474-654D-490C-BB2D-55CD2B91A004}"/>
              </a:ext>
            </a:extLst>
          </p:cNvPr>
          <p:cNvSpPr txBox="1"/>
          <p:nvPr/>
        </p:nvSpPr>
        <p:spPr>
          <a:xfrm>
            <a:off x="3868170" y="989738"/>
            <a:ext cx="2207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FF8400"/>
                </a:solidFill>
              </a:rPr>
              <a:t>+2.6 Mil </a:t>
            </a:r>
            <a:r>
              <a:rPr lang="pt-BR" sz="1600" dirty="0" err="1"/>
              <a:t>journals</a:t>
            </a:r>
            <a:r>
              <a:rPr lang="pt-BR" sz="1600" dirty="0"/>
              <a:t> revisados por pares</a:t>
            </a:r>
            <a:endParaRPr lang="es-419" sz="1600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2BA8DA0-D76D-44C6-80D7-F10BBE4004ED}"/>
              </a:ext>
            </a:extLst>
          </p:cNvPr>
          <p:cNvSpPr txBox="1"/>
          <p:nvPr/>
        </p:nvSpPr>
        <p:spPr>
          <a:xfrm>
            <a:off x="7023248" y="989738"/>
            <a:ext cx="15151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FF8400"/>
                </a:solidFill>
              </a:rPr>
              <a:t>+42 Mil</a:t>
            </a:r>
          </a:p>
          <a:p>
            <a:r>
              <a:rPr lang="pt-BR" sz="1600" dirty="0"/>
              <a:t>e-Books</a:t>
            </a:r>
            <a:endParaRPr lang="es-419" sz="1600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9D17F198-8639-4F46-8BDF-5A132F86D9F2}"/>
              </a:ext>
            </a:extLst>
          </p:cNvPr>
          <p:cNvSpPr txBox="1"/>
          <p:nvPr/>
        </p:nvSpPr>
        <p:spPr>
          <a:xfrm>
            <a:off x="1288255" y="2118542"/>
            <a:ext cx="15151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FF8400"/>
                </a:solidFill>
              </a:rPr>
              <a:t>+362 Mil </a:t>
            </a:r>
          </a:p>
          <a:p>
            <a:r>
              <a:rPr lang="pt-BR" sz="1600" dirty="0" err="1"/>
              <a:t>Topic</a:t>
            </a:r>
            <a:r>
              <a:rPr lang="pt-BR" sz="1600" dirty="0"/>
              <a:t> </a:t>
            </a:r>
            <a:r>
              <a:rPr lang="pt-BR" sz="1600" dirty="0" err="1"/>
              <a:t>pages</a:t>
            </a:r>
            <a:endParaRPr lang="es-419" sz="1600" dirty="0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791B02C-F16B-4D5D-BAF1-4DF9B4E11623}"/>
              </a:ext>
            </a:extLst>
          </p:cNvPr>
          <p:cNvSpPr txBox="1"/>
          <p:nvPr/>
        </p:nvSpPr>
        <p:spPr>
          <a:xfrm>
            <a:off x="3954015" y="2128374"/>
            <a:ext cx="2207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FF8400"/>
                </a:solidFill>
              </a:rPr>
              <a:t>+500 </a:t>
            </a:r>
            <a:r>
              <a:rPr lang="pt-BR" sz="1600" dirty="0"/>
              <a:t>publicações acesso aberto</a:t>
            </a:r>
            <a:endParaRPr lang="es-419" sz="1600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8405E91-A303-4029-B9E7-08A3CFD277F8}"/>
              </a:ext>
            </a:extLst>
          </p:cNvPr>
          <p:cNvSpPr txBox="1"/>
          <p:nvPr/>
        </p:nvSpPr>
        <p:spPr>
          <a:xfrm>
            <a:off x="7023246" y="2122104"/>
            <a:ext cx="17292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FF8400"/>
                </a:solidFill>
              </a:rPr>
              <a:t>+1.4 Milhões </a:t>
            </a:r>
          </a:p>
          <a:p>
            <a:r>
              <a:rPr lang="pt-BR" sz="1600" dirty="0"/>
              <a:t>de artigos de acesso aberto</a:t>
            </a:r>
            <a:endParaRPr lang="es-419" sz="1600" dirty="0"/>
          </a:p>
        </p:txBody>
      </p:sp>
      <p:sp>
        <p:nvSpPr>
          <p:cNvPr id="17" name="Título 2">
            <a:extLst>
              <a:ext uri="{FF2B5EF4-FFF2-40B4-BE49-F238E27FC236}">
                <a16:creationId xmlns:a16="http://schemas.microsoft.com/office/drawing/2014/main" id="{0E2248D3-11D7-484B-AB7E-C8265EF02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</p:spPr>
        <p:txBody>
          <a:bodyPr/>
          <a:lstStyle/>
          <a:p>
            <a:r>
              <a:rPr lang="pt-BR" dirty="0" err="1"/>
              <a:t>ScienceDirect</a:t>
            </a:r>
            <a:r>
              <a:rPr lang="pt-BR" dirty="0"/>
              <a:t> Hoje</a:t>
            </a:r>
            <a:endParaRPr lang="es-419" dirty="0"/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7CDE219C-61D5-43F1-961A-C0D32EC9E8C2}"/>
              </a:ext>
            </a:extLst>
          </p:cNvPr>
          <p:cNvSpPr/>
          <p:nvPr/>
        </p:nvSpPr>
        <p:spPr>
          <a:xfrm>
            <a:off x="0" y="3192368"/>
            <a:ext cx="9144000" cy="1951131"/>
          </a:xfrm>
          <a:prstGeom prst="rect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25" name="Título 2">
            <a:extLst>
              <a:ext uri="{FF2B5EF4-FFF2-40B4-BE49-F238E27FC236}">
                <a16:creationId xmlns:a16="http://schemas.microsoft.com/office/drawing/2014/main" id="{7C2A6B64-E2EB-4C9B-B7D0-EEA802CC4B0E}"/>
              </a:ext>
            </a:extLst>
          </p:cNvPr>
          <p:cNvSpPr txBox="1">
            <a:spLocks/>
          </p:cNvSpPr>
          <p:nvPr/>
        </p:nvSpPr>
        <p:spPr>
          <a:xfrm>
            <a:off x="573750" y="3218223"/>
            <a:ext cx="7993988" cy="19707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800" i="1" dirty="0">
                <a:solidFill>
                  <a:schemeClr val="bg1"/>
                </a:solidFill>
              </a:rPr>
              <a:t>“</a:t>
            </a:r>
            <a:r>
              <a:rPr lang="pt-BR" sz="1800" i="1" dirty="0" err="1">
                <a:solidFill>
                  <a:schemeClr val="bg1"/>
                </a:solidFill>
              </a:rPr>
              <a:t>ScienceDirect</a:t>
            </a:r>
            <a:r>
              <a:rPr lang="pt-BR" sz="1800" i="1" dirty="0">
                <a:solidFill>
                  <a:schemeClr val="bg1"/>
                </a:solidFill>
              </a:rPr>
              <a:t> é uma plataforma fácil de operar que oferece acesso a um amplo espectro de publicações de pesquisa interessantes e úteis que talvez eu nunca tenha considerado explorar.” </a:t>
            </a:r>
          </a:p>
          <a:p>
            <a:endParaRPr lang="pt-BR" sz="1050" i="1" dirty="0">
              <a:solidFill>
                <a:srgbClr val="FF6C00"/>
              </a:solidFill>
            </a:endParaRPr>
          </a:p>
          <a:p>
            <a:r>
              <a:rPr lang="pt-BR" sz="1600" dirty="0">
                <a:solidFill>
                  <a:srgbClr val="FF6C00"/>
                </a:solidFill>
              </a:rPr>
              <a:t>Pesquisador / Funcionário</a:t>
            </a:r>
          </a:p>
          <a:p>
            <a:r>
              <a:rPr lang="pt-BR" sz="1600" dirty="0">
                <a:solidFill>
                  <a:srgbClr val="FF6C00"/>
                </a:solidFill>
              </a:rPr>
              <a:t>Área de Ciências da Vida, EUA</a:t>
            </a:r>
          </a:p>
          <a:p>
            <a:endParaRPr lang="pt-BR" sz="2000" dirty="0">
              <a:solidFill>
                <a:schemeClr val="bg1"/>
              </a:solidFill>
            </a:endParaRP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id="{AF778583-703D-4E14-A628-5581CB813D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961" t="6530" r="57161" b="58794"/>
          <a:stretch/>
        </p:blipFill>
        <p:spPr>
          <a:xfrm>
            <a:off x="6504975" y="938842"/>
            <a:ext cx="494376" cy="724060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ADD53253-05B0-4B46-8992-5AB0857C53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205" t="6458" r="39475" b="58866"/>
          <a:stretch/>
        </p:blipFill>
        <p:spPr>
          <a:xfrm>
            <a:off x="576263" y="2094118"/>
            <a:ext cx="577876" cy="653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87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seu histórico no </a:t>
            </a:r>
            <a:r>
              <a:rPr lang="pt-BR" dirty="0" err="1"/>
              <a:t>ScienceDirect</a:t>
            </a:r>
            <a:endParaRPr lang="es-419" dirty="0"/>
          </a:p>
        </p:txBody>
      </p: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57A5D975-7A6D-403E-93E0-9515B384152D}"/>
              </a:ext>
            </a:extLst>
          </p:cNvPr>
          <p:cNvCxnSpPr>
            <a:cxnSpLocks/>
          </p:cNvCxnSpPr>
          <p:nvPr/>
        </p:nvCxnSpPr>
        <p:spPr>
          <a:xfrm>
            <a:off x="4380908" y="1180210"/>
            <a:ext cx="1062962" cy="54226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ângulo 6">
            <a:extLst>
              <a:ext uri="{FF2B5EF4-FFF2-40B4-BE49-F238E27FC236}">
                <a16:creationId xmlns:a16="http://schemas.microsoft.com/office/drawing/2014/main" id="{9900481E-DA29-4A0A-BA10-C4B71A657AFC}"/>
              </a:ext>
            </a:extLst>
          </p:cNvPr>
          <p:cNvSpPr/>
          <p:nvPr/>
        </p:nvSpPr>
        <p:spPr>
          <a:xfrm>
            <a:off x="6624084" y="2668772"/>
            <a:ext cx="1148316" cy="478465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545FF381-5558-4989-9C28-825A53C0169B}"/>
              </a:ext>
            </a:extLst>
          </p:cNvPr>
          <p:cNvSpPr/>
          <p:nvPr/>
        </p:nvSpPr>
        <p:spPr>
          <a:xfrm>
            <a:off x="939208" y="2936619"/>
            <a:ext cx="7375451" cy="859204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A0161D7-6E3C-4CA5-9FC4-341159A65D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283" r="1962" b="6326"/>
          <a:stretch/>
        </p:blipFill>
        <p:spPr>
          <a:xfrm>
            <a:off x="0" y="700089"/>
            <a:ext cx="9181120" cy="4443412"/>
          </a:xfrm>
          <a:prstGeom prst="rect">
            <a:avLst/>
          </a:prstGeom>
        </p:spPr>
      </p:pic>
      <p:cxnSp>
        <p:nvCxnSpPr>
          <p:cNvPr id="9" name="Conector de Seta Reta 8">
            <a:extLst>
              <a:ext uri="{FF2B5EF4-FFF2-40B4-BE49-F238E27FC236}">
                <a16:creationId xmlns:a16="http://schemas.microsoft.com/office/drawing/2014/main" id="{DC4CE18F-2479-4A35-AE5B-D3489676BEAB}"/>
              </a:ext>
            </a:extLst>
          </p:cNvPr>
          <p:cNvCxnSpPr>
            <a:cxnSpLocks/>
          </p:cNvCxnSpPr>
          <p:nvPr/>
        </p:nvCxnSpPr>
        <p:spPr>
          <a:xfrm flipV="1">
            <a:off x="1052623" y="3510778"/>
            <a:ext cx="146882" cy="285045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BB1FE27B-73A8-4063-8976-7E40213E85BB}"/>
              </a:ext>
            </a:extLst>
          </p:cNvPr>
          <p:cNvCxnSpPr>
            <a:cxnSpLocks/>
          </p:cNvCxnSpPr>
          <p:nvPr/>
        </p:nvCxnSpPr>
        <p:spPr>
          <a:xfrm flipH="1">
            <a:off x="3266548" y="2925985"/>
            <a:ext cx="367226" cy="1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5F3EF2A2-14C0-4321-AC23-03D5C29DD3D7}"/>
              </a:ext>
            </a:extLst>
          </p:cNvPr>
          <p:cNvCxnSpPr>
            <a:cxnSpLocks/>
          </p:cNvCxnSpPr>
          <p:nvPr/>
        </p:nvCxnSpPr>
        <p:spPr>
          <a:xfrm flipH="1">
            <a:off x="5097910" y="3585209"/>
            <a:ext cx="367226" cy="1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154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6164F-14D7-4C97-AFFF-0E08E03824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4" y="2264736"/>
            <a:ext cx="4556176" cy="609600"/>
          </a:xfrm>
        </p:spPr>
        <p:txBody>
          <a:bodyPr>
            <a:noAutofit/>
          </a:bodyPr>
          <a:lstStyle/>
          <a:p>
            <a:r>
              <a:rPr lang="pt-BR" sz="4000" dirty="0"/>
              <a:t>Obrigada!</a:t>
            </a:r>
            <a:endParaRPr lang="nl-NL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43E2E1-D8D0-428F-9CE1-98FD10199A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Google Shape;474;p24">
            <a:extLst>
              <a:ext uri="{FF2B5EF4-FFF2-40B4-BE49-F238E27FC236}">
                <a16:creationId xmlns:a16="http://schemas.microsoft.com/office/drawing/2014/main" id="{BAF6DBC5-0507-46AD-933C-198E51E4B0FF}"/>
              </a:ext>
            </a:extLst>
          </p:cNvPr>
          <p:cNvSpPr txBox="1"/>
          <p:nvPr/>
        </p:nvSpPr>
        <p:spPr>
          <a:xfrm>
            <a:off x="576263" y="4159584"/>
            <a:ext cx="4995722" cy="561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9525"/>
            <a:r>
              <a:rPr lang="en-US" sz="1600" b="1" dirty="0">
                <a:solidFill>
                  <a:srgbClr val="FF8400"/>
                </a:solidFill>
                <a:ea typeface="Arial"/>
                <a:cs typeface="Arial"/>
                <a:sym typeface="Arial"/>
              </a:rPr>
              <a:t>Elsevier</a:t>
            </a:r>
            <a:r>
              <a:rPr lang="en-US" sz="1600" dirty="0">
                <a:solidFill>
                  <a:srgbClr val="FF8400"/>
                </a:solidFill>
                <a:ea typeface="Arial"/>
                <a:cs typeface="Arial"/>
                <a:sym typeface="Arial"/>
              </a:rPr>
              <a:t>,</a:t>
            </a:r>
            <a:r>
              <a:rPr lang="en-US" sz="1600" dirty="0">
                <a:solidFill>
                  <a:srgbClr val="53565A"/>
                </a:solidFill>
                <a:ea typeface="Arial"/>
                <a:cs typeface="Arial"/>
                <a:sym typeface="Arial"/>
              </a:rPr>
              <a:t> Research Solutions Sales</a:t>
            </a:r>
            <a:endParaRPr sz="1600" dirty="0">
              <a:solidFill>
                <a:srgbClr val="53565A"/>
              </a:solidFill>
              <a:ea typeface="Arial"/>
              <a:cs typeface="Arial"/>
              <a:sym typeface="Arial"/>
            </a:endParaRPr>
          </a:p>
          <a:p>
            <a:pPr marL="9525" marR="1264444">
              <a:lnSpc>
                <a:spcPct val="127699"/>
              </a:lnSpc>
              <a:spcBef>
                <a:spcPts val="4"/>
              </a:spcBef>
            </a:pPr>
            <a:r>
              <a:rPr lang="en-US" sz="1600" u="sng" dirty="0">
                <a:solidFill>
                  <a:srgbClr val="0462C1"/>
                </a:solidFill>
                <a:ea typeface="Arial"/>
                <a:cs typeface="Arial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einamento-rso@elsevier.com</a:t>
            </a:r>
            <a:endParaRPr sz="1600" dirty="0">
              <a:solidFill>
                <a:schemeClr val="dk1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62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>
            <a:extLst>
              <a:ext uri="{FF2B5EF4-FFF2-40B4-BE49-F238E27FC236}">
                <a16:creationId xmlns:a16="http://schemas.microsoft.com/office/drawing/2014/main" id="{0B3C7F06-CFE4-4162-8907-F165959775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EAEAEA"/>
              </a:clrFrom>
              <a:clrTo>
                <a:srgbClr val="EAE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64" t="80025" r="42223" b="3812"/>
          <a:stretch/>
        </p:blipFill>
        <p:spPr bwMode="auto">
          <a:xfrm>
            <a:off x="5477488" y="4136207"/>
            <a:ext cx="588600" cy="559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812C38B1-9245-4C14-814B-6B69190AF1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EAEAEA"/>
              </a:clrFrom>
              <a:clrTo>
                <a:srgbClr val="EAE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560" t="37459" r="10176" b="44886"/>
          <a:stretch/>
        </p:blipFill>
        <p:spPr bwMode="auto">
          <a:xfrm>
            <a:off x="5523234" y="3222343"/>
            <a:ext cx="597274" cy="61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CE0A0043-36C1-4604-B32E-D636D31EE7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EAEAEA"/>
              </a:clrFrom>
              <a:clrTo>
                <a:srgbClr val="EAE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25" t="16450" r="41611" b="65895"/>
          <a:stretch/>
        </p:blipFill>
        <p:spPr bwMode="auto">
          <a:xfrm>
            <a:off x="5498754" y="2303502"/>
            <a:ext cx="597274" cy="61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61B6D862-9BDF-4EBF-8DE0-1ED76CE8AA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EAEAEA"/>
              </a:clrFrom>
              <a:clrTo>
                <a:srgbClr val="EAE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99" t="37774" r="72037" b="44571"/>
          <a:stretch/>
        </p:blipFill>
        <p:spPr bwMode="auto">
          <a:xfrm>
            <a:off x="5503409" y="1448464"/>
            <a:ext cx="597274" cy="610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06C2141-E5C3-4E01-AFE5-5D110C8C2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Vamos ficar em </a:t>
            </a:r>
            <a:r>
              <a:rPr lang="es-419" dirty="0" err="1"/>
              <a:t>contato</a:t>
            </a:r>
            <a:r>
              <a:rPr lang="es-419" dirty="0"/>
              <a:t>!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5E64632A-B899-4D72-9704-654657FA4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6327" y="1123793"/>
            <a:ext cx="2495239" cy="3257143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FBB0A25F-52BC-41B2-B21E-E1FE7BCB3BDF}"/>
              </a:ext>
            </a:extLst>
          </p:cNvPr>
          <p:cNvSpPr txBox="1"/>
          <p:nvPr/>
        </p:nvSpPr>
        <p:spPr>
          <a:xfrm>
            <a:off x="6152813" y="689336"/>
            <a:ext cx="19984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pt-BR" sz="1600" dirty="0">
                <a:solidFill>
                  <a:srgbClr val="53565A"/>
                </a:solidFill>
                <a:latin typeface="Arial" panose="020B0604020202020204"/>
              </a:rPr>
              <a:t>/ElsevierPesquisa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0037180D-6EAF-471B-BEAB-0D0D722FAF20}"/>
              </a:ext>
            </a:extLst>
          </p:cNvPr>
          <p:cNvSpPr txBox="1"/>
          <p:nvPr/>
        </p:nvSpPr>
        <p:spPr>
          <a:xfrm>
            <a:off x="6135860" y="1582822"/>
            <a:ext cx="18450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pt-BR" sz="1600" dirty="0">
                <a:solidFill>
                  <a:srgbClr val="53565A"/>
                </a:solidFill>
                <a:latin typeface="Arial" panose="020B0604020202020204"/>
              </a:rPr>
              <a:t>@ElsevierPesq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D73784B-AA7C-40DB-A440-652BCD163B34}"/>
              </a:ext>
            </a:extLst>
          </p:cNvPr>
          <p:cNvSpPr txBox="1"/>
          <p:nvPr/>
        </p:nvSpPr>
        <p:spPr>
          <a:xfrm>
            <a:off x="6152810" y="2510845"/>
            <a:ext cx="19984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pt-BR" sz="1600" dirty="0">
                <a:solidFill>
                  <a:srgbClr val="53565A"/>
                </a:solidFill>
                <a:latin typeface="Arial" panose="020B0604020202020204"/>
              </a:rPr>
              <a:t>@elsevierpesquisa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FD205760-8A4E-4B97-9D02-4C032C713B0F}"/>
              </a:ext>
            </a:extLst>
          </p:cNvPr>
          <p:cNvSpPr txBox="1"/>
          <p:nvPr/>
        </p:nvSpPr>
        <p:spPr>
          <a:xfrm>
            <a:off x="6137108" y="3382900"/>
            <a:ext cx="23175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pt-BR" sz="1600" dirty="0">
                <a:solidFill>
                  <a:srgbClr val="53565A"/>
                </a:solidFill>
                <a:latin typeface="Arial" panose="020B0604020202020204"/>
              </a:rPr>
              <a:t>Elsevier Pesquisa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112DE3E9-AEB0-4F71-B60B-28D86624A1A0}"/>
              </a:ext>
            </a:extLst>
          </p:cNvPr>
          <p:cNvSpPr txBox="1"/>
          <p:nvPr/>
        </p:nvSpPr>
        <p:spPr>
          <a:xfrm>
            <a:off x="6133203" y="4247109"/>
            <a:ext cx="23175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pt-BR" sz="1600" dirty="0">
                <a:solidFill>
                  <a:srgbClr val="53565A"/>
                </a:solidFill>
                <a:latin typeface="Arial" panose="020B0604020202020204"/>
              </a:rPr>
              <a:t>ElsevierPesquisa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ECEF2E1-9A41-4E4D-A2F3-0701ECB201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EAEAEA"/>
              </a:clrFrom>
              <a:clrTo>
                <a:srgbClr val="EAEA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3" t="17778" r="72946" b="66098"/>
          <a:stretch/>
        </p:blipFill>
        <p:spPr bwMode="auto">
          <a:xfrm>
            <a:off x="5505118" y="566680"/>
            <a:ext cx="564991" cy="55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840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>
            <a:extLst>
              <a:ext uri="{FF2B5EF4-FFF2-40B4-BE49-F238E27FC236}">
                <a16:creationId xmlns:a16="http://schemas.microsoft.com/office/drawing/2014/main" id="{40DA49B7-DF6B-4690-9F5A-1AC43094ACA7}"/>
              </a:ext>
            </a:extLst>
          </p:cNvPr>
          <p:cNvSpPr/>
          <p:nvPr/>
        </p:nvSpPr>
        <p:spPr>
          <a:xfrm>
            <a:off x="0" y="3196972"/>
            <a:ext cx="9144000" cy="1946527"/>
          </a:xfrm>
          <a:prstGeom prst="rect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pic>
        <p:nvPicPr>
          <p:cNvPr id="10" name="Imagem 9" descr="Gráfico, Gráfico de barras&#10;&#10;Descrição gerada automaticamente">
            <a:extLst>
              <a:ext uri="{FF2B5EF4-FFF2-40B4-BE49-F238E27FC236}">
                <a16:creationId xmlns:a16="http://schemas.microsoft.com/office/drawing/2014/main" id="{8EABE4B8-44AA-43EC-A3C5-9119FDBE3B7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37" t="21718" b="21650"/>
          <a:stretch/>
        </p:blipFill>
        <p:spPr>
          <a:xfrm>
            <a:off x="1803706" y="803185"/>
            <a:ext cx="5781866" cy="2357435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84C0EF52-C2F5-46F8-AF2E-9F7E70FBAA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73432" y="3429512"/>
            <a:ext cx="330274" cy="440365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64B677C0-E248-47B6-829F-36DFA4547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867993"/>
          </a:xfrm>
        </p:spPr>
        <p:txBody>
          <a:bodyPr/>
          <a:lstStyle/>
          <a:p>
            <a:r>
              <a:rPr lang="pt-BR" dirty="0" err="1"/>
              <a:t>ScienceDirect</a:t>
            </a:r>
            <a:r>
              <a:rPr lang="pt-BR" dirty="0"/>
              <a:t> está atraindo de forma consistente mais conteúdo global</a:t>
            </a:r>
            <a:endParaRPr lang="es-419" dirty="0"/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FEA500CF-DBC2-43D1-957B-5F2C99B4610F}"/>
              </a:ext>
            </a:extLst>
          </p:cNvPr>
          <p:cNvSpPr/>
          <p:nvPr/>
        </p:nvSpPr>
        <p:spPr>
          <a:xfrm>
            <a:off x="725680" y="3924816"/>
            <a:ext cx="23053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FF6C00"/>
                </a:solidFill>
                <a:latin typeface="Arial" charset="0"/>
                <a:ea typeface="Arial" charset="0"/>
                <a:cs typeface="Arial" charset="0"/>
              </a:rPr>
              <a:t>500 mil artigos revisados por pares </a:t>
            </a:r>
            <a:r>
              <a:rPr lang="en-GB" sz="160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ublicados</a:t>
            </a:r>
            <a:r>
              <a:rPr lang="en-GB" sz="16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a </a:t>
            </a:r>
            <a:r>
              <a:rPr lang="en-GB" sz="160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ada</a:t>
            </a:r>
            <a:r>
              <a:rPr lang="en-GB" sz="16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no</a:t>
            </a:r>
            <a:r>
              <a:rPr lang="en-GB" sz="16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.</a:t>
            </a:r>
          </a:p>
        </p:txBody>
      </p:sp>
      <p:pic>
        <p:nvPicPr>
          <p:cNvPr id="17" name="Graphic 14">
            <a:extLst>
              <a:ext uri="{FF2B5EF4-FFF2-40B4-BE49-F238E27FC236}">
                <a16:creationId xmlns:a16="http://schemas.microsoft.com/office/drawing/2014/main" id="{78CE732B-BE3D-4FAD-89BB-868C43FBC2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389532" y="3439095"/>
            <a:ext cx="386100" cy="421200"/>
          </a:xfrm>
          <a:prstGeom prst="rect">
            <a:avLst/>
          </a:prstGeom>
        </p:spPr>
      </p:pic>
      <p:pic>
        <p:nvPicPr>
          <p:cNvPr id="18" name="Graphic 26">
            <a:extLst>
              <a:ext uri="{FF2B5EF4-FFF2-40B4-BE49-F238E27FC236}">
                <a16:creationId xmlns:a16="http://schemas.microsoft.com/office/drawing/2014/main" id="{4A574303-29E6-4097-BA09-3D2FA38A86C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57885" y="3439095"/>
            <a:ext cx="351000" cy="421200"/>
          </a:xfrm>
          <a:prstGeom prst="rect">
            <a:avLst/>
          </a:prstGeom>
        </p:spPr>
      </p:pic>
      <p:sp>
        <p:nvSpPr>
          <p:cNvPr id="19" name="Rectangle 10">
            <a:extLst>
              <a:ext uri="{FF2B5EF4-FFF2-40B4-BE49-F238E27FC236}">
                <a16:creationId xmlns:a16="http://schemas.microsoft.com/office/drawing/2014/main" id="{AA2A396F-53E3-4A22-9150-E7829DA4C823}"/>
              </a:ext>
            </a:extLst>
          </p:cNvPr>
          <p:cNvSpPr/>
          <p:nvPr/>
        </p:nvSpPr>
        <p:spPr>
          <a:xfrm>
            <a:off x="3861411" y="3932999"/>
            <a:ext cx="18163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</a:pPr>
            <a:r>
              <a:rPr lang="en-GB" sz="1600" b="1" dirty="0">
                <a:solidFill>
                  <a:srgbClr val="FF6C00"/>
                </a:solidFill>
                <a:latin typeface="Arial" charset="0"/>
                <a:cs typeface="Arial" charset="0"/>
              </a:rPr>
              <a:t>60%</a:t>
            </a:r>
            <a:r>
              <a:rPr lang="en-GB" sz="1600" b="1" dirty="0">
                <a:solidFill>
                  <a:srgbClr val="FF6C00"/>
                </a:solidFill>
                <a:latin typeface="Arial" charset="0"/>
                <a:ea typeface="Arial" charset="0"/>
                <a:cs typeface="Arial" charset="0"/>
              </a:rPr>
              <a:t> a </a:t>
            </a:r>
            <a:r>
              <a:rPr lang="en-GB" sz="1600" b="1" dirty="0" err="1">
                <a:solidFill>
                  <a:srgbClr val="FF6C00"/>
                </a:solidFill>
                <a:latin typeface="Arial" charset="0"/>
                <a:ea typeface="Arial" charset="0"/>
                <a:cs typeface="Arial" charset="0"/>
              </a:rPr>
              <a:t>mais</a:t>
            </a:r>
            <a:r>
              <a:rPr lang="en-GB" sz="16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que a </a:t>
            </a:r>
            <a:r>
              <a:rPr lang="en-GB" sz="1600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écada</a:t>
            </a:r>
            <a:r>
              <a:rPr lang="en-GB" sz="16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anterior.</a:t>
            </a:r>
          </a:p>
        </p:txBody>
      </p:sp>
      <p:sp>
        <p:nvSpPr>
          <p:cNvPr id="20" name="Rectangle 10">
            <a:extLst>
              <a:ext uri="{FF2B5EF4-FFF2-40B4-BE49-F238E27FC236}">
                <a16:creationId xmlns:a16="http://schemas.microsoft.com/office/drawing/2014/main" id="{9DADB906-E50F-418E-848C-82445A5F3D07}"/>
              </a:ext>
            </a:extLst>
          </p:cNvPr>
          <p:cNvSpPr/>
          <p:nvPr/>
        </p:nvSpPr>
        <p:spPr>
          <a:xfrm>
            <a:off x="6279251" y="3932999"/>
            <a:ext cx="19677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</a:pPr>
            <a:r>
              <a:rPr lang="en-GB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  <a:r>
              <a:rPr lang="en-GB" sz="1600" dirty="0">
                <a:solidFill>
                  <a:schemeClr val="bg1"/>
                </a:solidFill>
                <a:latin typeface="Arial" charset="0"/>
                <a:cs typeface="Arial" charset="0"/>
              </a:rPr>
              <a:t>.</a:t>
            </a:r>
            <a:r>
              <a:rPr lang="en-GB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300</a:t>
            </a:r>
            <a:r>
              <a:rPr lang="en-GB" sz="1600" dirty="0">
                <a:solidFill>
                  <a:schemeClr val="bg1"/>
                </a:solidFill>
                <a:latin typeface="Arial" charset="0"/>
                <a:cs typeface="Arial" charset="0"/>
              </a:rPr>
              <a:t> novos </a:t>
            </a:r>
            <a:r>
              <a:rPr lang="en-GB" sz="1600" dirty="0" err="1">
                <a:solidFill>
                  <a:schemeClr val="bg1"/>
                </a:solidFill>
                <a:latin typeface="Arial" charset="0"/>
                <a:cs typeface="Arial" charset="0"/>
              </a:rPr>
              <a:t>artigos</a:t>
            </a:r>
            <a:r>
              <a:rPr lang="en-GB" sz="160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GB" sz="1600" b="1" dirty="0">
                <a:solidFill>
                  <a:srgbClr val="FF6C00"/>
                </a:solidFill>
                <a:latin typeface="Arial" charset="0"/>
                <a:cs typeface="Arial" charset="0"/>
              </a:rPr>
              <a:t>TODOS OS DIAS.</a:t>
            </a:r>
            <a:endParaRPr lang="en-GB" sz="16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9962135C-93A1-48F4-8E1E-9757ACC8DEB6}"/>
              </a:ext>
            </a:extLst>
          </p:cNvPr>
          <p:cNvSpPr/>
          <p:nvPr/>
        </p:nvSpPr>
        <p:spPr>
          <a:xfrm>
            <a:off x="1892595" y="2456121"/>
            <a:ext cx="244549" cy="3613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</p:spTree>
    <p:extLst>
      <p:ext uri="{BB962C8B-B14F-4D97-AF65-F5344CB8AC3E}">
        <p14:creationId xmlns:p14="http://schemas.microsoft.com/office/powerpoint/2010/main" val="2509789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684A92F1-4B20-4D7F-8C6F-D3160C6C9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867993"/>
          </a:xfrm>
        </p:spPr>
        <p:txBody>
          <a:bodyPr/>
          <a:lstStyle/>
          <a:p>
            <a:r>
              <a:rPr lang="pt-BR" dirty="0"/>
              <a:t>O conteúdo de livros é um complemento essencial ao conteúdo de revistas</a:t>
            </a:r>
            <a:endParaRPr lang="es-419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38F1F2BB-976C-4A79-9350-28E41D9743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21047" y="1199482"/>
            <a:ext cx="929906" cy="929906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8087470F-863E-47CC-84FC-08D117214D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93047" y="1185970"/>
            <a:ext cx="929906" cy="929906"/>
          </a:xfrm>
          <a:prstGeom prst="rect">
            <a:avLst/>
          </a:prstGeom>
        </p:spPr>
      </p:pic>
      <p:sp>
        <p:nvSpPr>
          <p:cNvPr id="16" name="Rectangle 10">
            <a:extLst>
              <a:ext uri="{FF2B5EF4-FFF2-40B4-BE49-F238E27FC236}">
                <a16:creationId xmlns:a16="http://schemas.microsoft.com/office/drawing/2014/main" id="{5E7C4499-D74A-4EA7-B1C0-8267141399AA}"/>
              </a:ext>
            </a:extLst>
          </p:cNvPr>
          <p:cNvSpPr/>
          <p:nvPr/>
        </p:nvSpPr>
        <p:spPr>
          <a:xfrm>
            <a:off x="576263" y="2174407"/>
            <a:ext cx="37084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>
                <a:solidFill>
                  <a:srgbClr val="FF6C00"/>
                </a:solidFill>
                <a:latin typeface="Arial" charset="0"/>
                <a:ea typeface="Arial" charset="0"/>
                <a:cs typeface="Arial" charset="0"/>
              </a:rPr>
              <a:t>CONTEÚDO DE LIVROS</a:t>
            </a:r>
          </a:p>
          <a:p>
            <a:pPr algn="ctr"/>
            <a:r>
              <a:rPr lang="pt-BR" sz="1400" b="1" dirty="0">
                <a:solidFill>
                  <a:srgbClr val="53565A"/>
                </a:solidFill>
                <a:latin typeface="Arial" charset="0"/>
                <a:ea typeface="Arial" charset="0"/>
                <a:cs typeface="Arial" charset="0"/>
              </a:rPr>
              <a:t>Amplitude para conectar disciplinas 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A8EF6D19-98E0-4F00-B9BF-A1E2F94087DC}"/>
              </a:ext>
            </a:extLst>
          </p:cNvPr>
          <p:cNvSpPr/>
          <p:nvPr/>
        </p:nvSpPr>
        <p:spPr>
          <a:xfrm>
            <a:off x="4859338" y="2174407"/>
            <a:ext cx="37083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>
                <a:solidFill>
                  <a:srgbClr val="007398"/>
                </a:solidFill>
                <a:latin typeface="Arial" charset="0"/>
                <a:ea typeface="Arial" charset="0"/>
                <a:cs typeface="Arial" charset="0"/>
              </a:rPr>
              <a:t>CONTEÚDO DE REVISTAS</a:t>
            </a:r>
          </a:p>
          <a:p>
            <a:pPr algn="ctr"/>
            <a:r>
              <a:rPr lang="pt-BR" sz="1400" b="1" dirty="0">
                <a:solidFill>
                  <a:srgbClr val="53565A"/>
                </a:solidFill>
                <a:latin typeface="Arial" charset="0"/>
                <a:ea typeface="Arial" charset="0"/>
                <a:cs typeface="Arial" charset="0"/>
              </a:rPr>
              <a:t>Amplitude para conectar disciplinas 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DF53E37A-92D6-44F8-B794-386E7F567248}"/>
              </a:ext>
            </a:extLst>
          </p:cNvPr>
          <p:cNvSpPr txBox="1">
            <a:spLocks/>
          </p:cNvSpPr>
          <p:nvPr/>
        </p:nvSpPr>
        <p:spPr>
          <a:xfrm>
            <a:off x="801633" y="2798071"/>
            <a:ext cx="3483030" cy="13611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–"/>
              <a:defRPr sz="120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•"/>
              <a:defRPr sz="110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–"/>
              <a:defRPr sz="105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»"/>
              <a:defRPr sz="105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>
                <a:solidFill>
                  <a:schemeClr val="tx1"/>
                </a:solidFill>
                <a:cs typeface="+mn-cs"/>
              </a:rPr>
              <a:t>Facilitando novos caminhos para a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pesquisa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 err="1">
                <a:solidFill>
                  <a:schemeClr val="tx1"/>
                </a:solidFill>
                <a:cs typeface="+mn-cs"/>
              </a:rPr>
              <a:t>Abrangente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>
                <a:solidFill>
                  <a:schemeClr val="tx1"/>
                </a:solidFill>
                <a:cs typeface="+mn-cs"/>
              </a:rPr>
              <a:t>Ferramenta de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aprendizado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>
                <a:solidFill>
                  <a:schemeClr val="tx1"/>
                </a:solidFill>
                <a:cs typeface="+mn-cs"/>
              </a:rPr>
              <a:t>Angulo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amplo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>
                <a:solidFill>
                  <a:schemeClr val="tx1"/>
                </a:solidFill>
                <a:cs typeface="+mn-cs"/>
              </a:rPr>
              <a:t>Novos tópicos ou revisão de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antigas</a:t>
            </a:r>
            <a:r>
              <a:rPr lang="en-GB" dirty="0">
                <a:solidFill>
                  <a:schemeClr val="tx1"/>
                </a:solidFill>
                <a:cs typeface="+mn-cs"/>
              </a:rPr>
              <a:t>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áreas</a:t>
            </a:r>
            <a:r>
              <a:rPr lang="en-GB" dirty="0">
                <a:solidFill>
                  <a:schemeClr val="tx1"/>
                </a:solidFill>
                <a:cs typeface="+mn-cs"/>
              </a:rPr>
              <a:t>.</a:t>
            </a:r>
            <a:endParaRPr lang="en-US" sz="1600" dirty="0">
              <a:solidFill>
                <a:schemeClr val="tx1"/>
              </a:solidFill>
              <a:ea typeface="ＭＳ Ｐゴシック" charset="-128"/>
              <a:cs typeface="Arial"/>
            </a:endParaRPr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6137A25C-BDD2-4A87-81BF-A585B9F1F749}"/>
              </a:ext>
            </a:extLst>
          </p:cNvPr>
          <p:cNvSpPr txBox="1">
            <a:spLocks/>
          </p:cNvSpPr>
          <p:nvPr/>
        </p:nvSpPr>
        <p:spPr>
          <a:xfrm>
            <a:off x="5188688" y="2851506"/>
            <a:ext cx="3153679" cy="11337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–"/>
              <a:defRPr sz="120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•"/>
              <a:defRPr sz="110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–"/>
              <a:defRPr sz="105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787977"/>
              </a:buClr>
              <a:buFont typeface="Arial" pitchFamily="34" charset="0"/>
              <a:buChar char="»"/>
              <a:defRPr sz="1050" b="0" i="0" kern="1200">
                <a:solidFill>
                  <a:srgbClr val="787977"/>
                </a:solidFill>
                <a:latin typeface="+mn-lt"/>
                <a:ea typeface="+mn-ea"/>
                <a:cs typeface="Calibri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 err="1">
                <a:solidFill>
                  <a:schemeClr val="tx1"/>
                </a:solidFill>
                <a:cs typeface="+mn-cs"/>
              </a:rPr>
              <a:t>Conhecimento</a:t>
            </a:r>
            <a:r>
              <a:rPr lang="en-GB" dirty="0">
                <a:solidFill>
                  <a:schemeClr val="tx1"/>
                </a:solidFill>
                <a:cs typeface="+mn-cs"/>
              </a:rPr>
              <a:t>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especializado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 err="1">
                <a:solidFill>
                  <a:schemeClr val="tx1"/>
                </a:solidFill>
                <a:cs typeface="+mn-cs"/>
              </a:rPr>
              <a:t>Foco</a:t>
            </a:r>
            <a:r>
              <a:rPr lang="en-GB" dirty="0">
                <a:solidFill>
                  <a:schemeClr val="tx1"/>
                </a:solidFill>
                <a:cs typeface="+mn-cs"/>
              </a:rPr>
              <a:t>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estreito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>
                <a:solidFill>
                  <a:schemeClr val="tx1"/>
                </a:solidFill>
                <a:cs typeface="+mn-cs"/>
              </a:rPr>
              <a:t>Extrema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profundidade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 err="1">
                <a:solidFill>
                  <a:schemeClr val="tx1"/>
                </a:solidFill>
                <a:cs typeface="+mn-cs"/>
              </a:rPr>
              <a:t>Últimas</a:t>
            </a:r>
            <a:r>
              <a:rPr lang="en-GB" dirty="0">
                <a:solidFill>
                  <a:schemeClr val="tx1"/>
                </a:solidFill>
                <a:cs typeface="+mn-cs"/>
              </a:rPr>
              <a:t> pesquisas/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novos</a:t>
            </a:r>
            <a:r>
              <a:rPr lang="en-GB" dirty="0">
                <a:solidFill>
                  <a:schemeClr val="tx1"/>
                </a:solidFill>
                <a:cs typeface="+mn-cs"/>
              </a:rPr>
              <a:t>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resultados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r>
              <a:rPr lang="en-GB" dirty="0" err="1">
                <a:solidFill>
                  <a:schemeClr val="tx1"/>
                </a:solidFill>
                <a:cs typeface="+mn-cs"/>
              </a:rPr>
              <a:t>Aplicando</a:t>
            </a:r>
            <a:r>
              <a:rPr lang="en-GB" dirty="0">
                <a:solidFill>
                  <a:schemeClr val="tx1"/>
                </a:solidFill>
                <a:cs typeface="+mn-cs"/>
              </a:rPr>
              <a:t> </a:t>
            </a:r>
            <a:r>
              <a:rPr lang="en-GB" dirty="0" err="1">
                <a:solidFill>
                  <a:schemeClr val="tx1"/>
                </a:solidFill>
                <a:cs typeface="+mn-cs"/>
              </a:rPr>
              <a:t>técnicas</a:t>
            </a:r>
            <a:r>
              <a:rPr lang="en-GB" dirty="0">
                <a:solidFill>
                  <a:schemeClr val="tx1"/>
                </a:solidFill>
                <a:cs typeface="+mn-cs"/>
              </a:rPr>
              <a:t>;</a:t>
            </a:r>
          </a:p>
          <a:p>
            <a:pPr defTabSz="914378" fontAlgn="base"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/>
            </a:pPr>
            <a:endParaRPr lang="en-US" sz="1600" dirty="0">
              <a:solidFill>
                <a:schemeClr val="tx1"/>
              </a:solidFill>
              <a:ea typeface="ＭＳ Ｐゴシック" charset="-128"/>
              <a:cs typeface="Arial"/>
            </a:endParaRPr>
          </a:p>
        </p:txBody>
      </p:sp>
      <p:sp>
        <p:nvSpPr>
          <p:cNvPr id="20" name="Seta: da Esquerda para a Direita 19">
            <a:extLst>
              <a:ext uri="{FF2B5EF4-FFF2-40B4-BE49-F238E27FC236}">
                <a16:creationId xmlns:a16="http://schemas.microsoft.com/office/drawing/2014/main" id="{FA1D7BDD-6E93-4D0F-91E9-E586BA97AD10}"/>
              </a:ext>
            </a:extLst>
          </p:cNvPr>
          <p:cNvSpPr/>
          <p:nvPr/>
        </p:nvSpPr>
        <p:spPr>
          <a:xfrm>
            <a:off x="4114800" y="1408607"/>
            <a:ext cx="929906" cy="484632"/>
          </a:xfrm>
          <a:prstGeom prst="leftRightArrow">
            <a:avLst>
              <a:gd name="adj1" fmla="val 32449"/>
              <a:gd name="adj2" fmla="val 34643"/>
            </a:avLst>
          </a:prstGeom>
          <a:solidFill>
            <a:srgbClr val="5356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</p:spTree>
    <p:extLst>
      <p:ext uri="{BB962C8B-B14F-4D97-AF65-F5344CB8AC3E}">
        <p14:creationId xmlns:p14="http://schemas.microsoft.com/office/powerpoint/2010/main" val="178439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1E59F05-6512-4022-91EC-BD48D0AC1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857360"/>
          </a:xfrm>
        </p:spPr>
        <p:txBody>
          <a:bodyPr/>
          <a:lstStyle/>
          <a:p>
            <a:r>
              <a:rPr lang="pt-BR" dirty="0"/>
              <a:t>O acesso a livros e a revistas em uma mesma plataforma fornece discernimentos mais significativos</a:t>
            </a:r>
            <a:endParaRPr lang="es-419" dirty="0"/>
          </a:p>
        </p:txBody>
      </p:sp>
      <p:pic>
        <p:nvPicPr>
          <p:cNvPr id="10" name="Picture 15">
            <a:extLst>
              <a:ext uri="{FF2B5EF4-FFF2-40B4-BE49-F238E27FC236}">
                <a16:creationId xmlns:a16="http://schemas.microsoft.com/office/drawing/2014/main" id="{B48702D1-F2F4-4733-907E-E34FA8DE77E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99727" y="1175974"/>
            <a:ext cx="4164997" cy="3256136"/>
          </a:xfrm>
          <a:prstGeom prst="rect">
            <a:avLst/>
          </a:prstGeom>
        </p:spPr>
      </p:pic>
      <p:sp>
        <p:nvSpPr>
          <p:cNvPr id="11" name="Rectangle 26">
            <a:extLst>
              <a:ext uri="{FF2B5EF4-FFF2-40B4-BE49-F238E27FC236}">
                <a16:creationId xmlns:a16="http://schemas.microsoft.com/office/drawing/2014/main" id="{BBE285D5-8676-4744-A18C-79D376143FD9}"/>
              </a:ext>
            </a:extLst>
          </p:cNvPr>
          <p:cNvSpPr/>
          <p:nvPr/>
        </p:nvSpPr>
        <p:spPr>
          <a:xfrm>
            <a:off x="474877" y="1069853"/>
            <a:ext cx="1843916" cy="71558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55">
              <a:defRPr/>
            </a:pPr>
            <a:r>
              <a:rPr lang="en-US" sz="4000" b="1" kern="0" dirty="0">
                <a:solidFill>
                  <a:srgbClr val="FF6C00"/>
                </a:solidFill>
                <a:latin typeface="Arial" panose="020B0604020202020204"/>
              </a:rPr>
              <a:t>78%</a:t>
            </a:r>
          </a:p>
        </p:txBody>
      </p:sp>
      <p:sp>
        <p:nvSpPr>
          <p:cNvPr id="12" name="Rectangle 28">
            <a:extLst>
              <a:ext uri="{FF2B5EF4-FFF2-40B4-BE49-F238E27FC236}">
                <a16:creationId xmlns:a16="http://schemas.microsoft.com/office/drawing/2014/main" id="{73F31AEA-ADFE-4711-A638-5CD23F382B6D}"/>
              </a:ext>
            </a:extLst>
          </p:cNvPr>
          <p:cNvSpPr/>
          <p:nvPr/>
        </p:nvSpPr>
        <p:spPr>
          <a:xfrm>
            <a:off x="566172" y="1729390"/>
            <a:ext cx="1642261" cy="73866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86864" algn="ctr"/>
            <a:r>
              <a:rPr lang="en-US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quentemente fazem </a:t>
            </a:r>
            <a:r>
              <a:rPr lang="en-US" sz="140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quisas</a:t>
            </a:r>
            <a:r>
              <a:rPr lang="en-US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disciplinares</a:t>
            </a:r>
            <a:r>
              <a:rPr lang="en-US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dirty="0">
              <a:solidFill>
                <a:srgbClr val="53565A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3" name="Rectangle 27">
            <a:extLst>
              <a:ext uri="{FF2B5EF4-FFF2-40B4-BE49-F238E27FC236}">
                <a16:creationId xmlns:a16="http://schemas.microsoft.com/office/drawing/2014/main" id="{471B4A7A-3D74-4449-B271-7BE8164A8252}"/>
              </a:ext>
            </a:extLst>
          </p:cNvPr>
          <p:cNvSpPr/>
          <p:nvPr/>
        </p:nvSpPr>
        <p:spPr>
          <a:xfrm>
            <a:off x="6538678" y="940127"/>
            <a:ext cx="1843916" cy="71558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55">
              <a:defRPr/>
            </a:pPr>
            <a:r>
              <a:rPr lang="en-US" sz="4000" b="1" kern="0" dirty="0">
                <a:solidFill>
                  <a:srgbClr val="FF6C00"/>
                </a:solidFill>
                <a:latin typeface="Arial" panose="020B0604020202020204"/>
              </a:rPr>
              <a:t>90%</a:t>
            </a:r>
          </a:p>
        </p:txBody>
      </p:sp>
      <p:sp>
        <p:nvSpPr>
          <p:cNvPr id="14" name="Rectangle 29">
            <a:extLst>
              <a:ext uri="{FF2B5EF4-FFF2-40B4-BE49-F238E27FC236}">
                <a16:creationId xmlns:a16="http://schemas.microsoft.com/office/drawing/2014/main" id="{09050BD0-A3E6-47DB-A874-DB55FC416BF1}"/>
              </a:ext>
            </a:extLst>
          </p:cNvPr>
          <p:cNvSpPr/>
          <p:nvPr/>
        </p:nvSpPr>
        <p:spPr>
          <a:xfrm>
            <a:off x="6273212" y="1558597"/>
            <a:ext cx="2273860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86864" algn="ctr"/>
            <a:r>
              <a:rPr lang="pt-BR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usuários entrevistados ​​concordam que, em seu trabalho, eles se beneficiam do uso de livros e revistas na mesma pesquisa\</a:t>
            </a:r>
            <a:endParaRPr lang="en-US" sz="140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96DA8D18-7005-4090-801B-73DD7967C9E0}"/>
              </a:ext>
            </a:extLst>
          </p:cNvPr>
          <p:cNvSpPr/>
          <p:nvPr/>
        </p:nvSpPr>
        <p:spPr>
          <a:xfrm>
            <a:off x="549309" y="3320993"/>
            <a:ext cx="193871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6864" algn="ctr"/>
            <a:r>
              <a:rPr lang="en-US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n-US" sz="140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vros</a:t>
            </a:r>
            <a:r>
              <a:rPr lang="en-US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revistas </a:t>
            </a:r>
            <a:r>
              <a:rPr lang="pt-BR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am usados ​​juntos </a:t>
            </a:r>
          </a:p>
          <a:p>
            <a:pPr marL="86864" algn="ctr"/>
            <a:r>
              <a:rPr lang="pt-BR" sz="140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mesma sessão de pesquisa em 2019</a:t>
            </a:r>
            <a:endParaRPr lang="en-US" sz="140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6">
            <a:extLst>
              <a:ext uri="{FF2B5EF4-FFF2-40B4-BE49-F238E27FC236}">
                <a16:creationId xmlns:a16="http://schemas.microsoft.com/office/drawing/2014/main" id="{806289D1-0521-4F32-A87A-DF780BD9C0D9}"/>
              </a:ext>
            </a:extLst>
          </p:cNvPr>
          <p:cNvSpPr/>
          <p:nvPr/>
        </p:nvSpPr>
        <p:spPr>
          <a:xfrm>
            <a:off x="658916" y="2640088"/>
            <a:ext cx="1843916" cy="71558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914355">
              <a:defRPr/>
            </a:pPr>
            <a:r>
              <a:rPr lang="en-US" sz="4000" b="1" kern="0" dirty="0">
                <a:solidFill>
                  <a:srgbClr val="FF6C00"/>
                </a:solidFill>
                <a:latin typeface="Arial" panose="020B0604020202020204"/>
              </a:rPr>
              <a:t>6,3 mi</a:t>
            </a:r>
          </a:p>
        </p:txBody>
      </p:sp>
      <p:sp>
        <p:nvSpPr>
          <p:cNvPr id="17" name="Rectangle 23">
            <a:extLst>
              <a:ext uri="{FF2B5EF4-FFF2-40B4-BE49-F238E27FC236}">
                <a16:creationId xmlns:a16="http://schemas.microsoft.com/office/drawing/2014/main" id="{4F078484-C9EE-4DF9-AB65-32DAE8D8DC95}"/>
              </a:ext>
            </a:extLst>
          </p:cNvPr>
          <p:cNvSpPr/>
          <p:nvPr/>
        </p:nvSpPr>
        <p:spPr>
          <a:xfrm>
            <a:off x="1331583" y="4591303"/>
            <a:ext cx="32840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5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 TechValidate survey of 270 users of Elsevier ScienceDirect Books TVID: </a:t>
            </a:r>
            <a:r>
              <a:rPr lang="en-US" sz="750" u="sng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9D4-230-2AD</a:t>
            </a:r>
            <a:endParaRPr lang="en-US" sz="750" u="sng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42CF9D2-4636-4C03-9C85-EDC13B627D62}"/>
              </a:ext>
            </a:extLst>
          </p:cNvPr>
          <p:cNvSpPr/>
          <p:nvPr/>
        </p:nvSpPr>
        <p:spPr>
          <a:xfrm>
            <a:off x="5578033" y="4591303"/>
            <a:ext cx="328022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50" dirty="0">
                <a:solidFill>
                  <a:srgbClr val="53565A"/>
                </a:solidFill>
                <a:latin typeface="Arial" charset="0"/>
                <a:ea typeface="Arial" charset="0"/>
                <a:cs typeface="Arial" charset="0"/>
              </a:rPr>
              <a:t>Source: TechValidate survey of 267 users of Elsevier ScienceDirect Books TVID: </a:t>
            </a:r>
            <a:r>
              <a:rPr lang="en-US" sz="750" u="sng" dirty="0">
                <a:solidFill>
                  <a:srgbClr val="53565A"/>
                </a:solidFill>
                <a:latin typeface="Arial" charset="0"/>
                <a:ea typeface="Arial" charset="0"/>
                <a:cs typeface="Arial" charset="0"/>
              </a:rPr>
              <a:t>39C-DC2-A29 </a:t>
            </a:r>
          </a:p>
        </p:txBody>
      </p:sp>
    </p:spTree>
    <p:extLst>
      <p:ext uri="{BB962C8B-B14F-4D97-AF65-F5344CB8AC3E}">
        <p14:creationId xmlns:p14="http://schemas.microsoft.com/office/powerpoint/2010/main" val="400580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AEC653D4-5144-45FA-AD7D-9063881BF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Busca rápida no </a:t>
            </a:r>
            <a:r>
              <a:rPr lang="es-419" dirty="0" err="1"/>
              <a:t>ScienceDirect</a:t>
            </a:r>
            <a:endParaRPr lang="es-419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C1251865-4C69-4035-A416-F954B79531B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903" r="1962" b="18951"/>
          <a:stretch/>
        </p:blipFill>
        <p:spPr>
          <a:xfrm>
            <a:off x="0" y="1407120"/>
            <a:ext cx="9157699" cy="3736380"/>
          </a:xfrm>
          <a:prstGeom prst="rect">
            <a:avLst/>
          </a:prstGeom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1C3B9519-F22A-46B4-BA6D-5A64DCCE132B}"/>
              </a:ext>
            </a:extLst>
          </p:cNvPr>
          <p:cNvSpPr/>
          <p:nvPr/>
        </p:nvSpPr>
        <p:spPr>
          <a:xfrm>
            <a:off x="935665" y="1945762"/>
            <a:ext cx="5178056" cy="26631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9" name="Chave Direita 8">
            <a:extLst>
              <a:ext uri="{FF2B5EF4-FFF2-40B4-BE49-F238E27FC236}">
                <a16:creationId xmlns:a16="http://schemas.microsoft.com/office/drawing/2014/main" id="{D234EA17-0434-496D-97BF-85B5EC39C156}"/>
              </a:ext>
            </a:extLst>
          </p:cNvPr>
          <p:cNvSpPr/>
          <p:nvPr/>
        </p:nvSpPr>
        <p:spPr>
          <a:xfrm rot="16200000">
            <a:off x="3402924" y="-520495"/>
            <a:ext cx="615682" cy="5465135"/>
          </a:xfrm>
          <a:prstGeom prst="rightBrace">
            <a:avLst/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492034F-15EE-48B7-8541-62AA04739E4B}"/>
              </a:ext>
            </a:extLst>
          </p:cNvPr>
          <p:cNvSpPr txBox="1"/>
          <p:nvPr/>
        </p:nvSpPr>
        <p:spPr>
          <a:xfrm>
            <a:off x="1687929" y="1010328"/>
            <a:ext cx="51934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Faça buscas preenchendo um ou mais dos seguintes campos: termos, nome do autor, título da publicação, volume, edição e página</a:t>
            </a:r>
          </a:p>
        </p:txBody>
      </p:sp>
    </p:spTree>
    <p:extLst>
      <p:ext uri="{BB962C8B-B14F-4D97-AF65-F5344CB8AC3E}">
        <p14:creationId xmlns:p14="http://schemas.microsoft.com/office/powerpoint/2010/main" val="189989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95446CE3-618F-4587-96FC-09FB032A7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Resultados de </a:t>
            </a:r>
            <a:r>
              <a:rPr lang="es-419" dirty="0" err="1"/>
              <a:t>uma</a:t>
            </a:r>
            <a:r>
              <a:rPr lang="es-419" dirty="0"/>
              <a:t> busca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DEBE6A6-8DEC-40F0-A998-4B5C55EA97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97" b="4998"/>
          <a:stretch/>
        </p:blipFill>
        <p:spPr>
          <a:xfrm>
            <a:off x="0" y="757939"/>
            <a:ext cx="9144000" cy="4385561"/>
          </a:xfrm>
          <a:prstGeom prst="rect">
            <a:avLst/>
          </a:prstGeom>
        </p:spPr>
      </p:pic>
      <p:sp>
        <p:nvSpPr>
          <p:cNvPr id="6" name="Chave Direita 5">
            <a:extLst>
              <a:ext uri="{FF2B5EF4-FFF2-40B4-BE49-F238E27FC236}">
                <a16:creationId xmlns:a16="http://schemas.microsoft.com/office/drawing/2014/main" id="{9B566191-4155-43D4-B050-BE9ABA5D6B3E}"/>
              </a:ext>
            </a:extLst>
          </p:cNvPr>
          <p:cNvSpPr/>
          <p:nvPr/>
        </p:nvSpPr>
        <p:spPr>
          <a:xfrm rot="16200000">
            <a:off x="2701175" y="-584290"/>
            <a:ext cx="615682" cy="5465135"/>
          </a:xfrm>
          <a:prstGeom prst="rightBrace">
            <a:avLst>
              <a:gd name="adj1" fmla="val 8333"/>
              <a:gd name="adj2" fmla="val 100000"/>
            </a:avLst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2A24E716-ACE4-4504-AB90-152347049985}"/>
              </a:ext>
            </a:extLst>
          </p:cNvPr>
          <p:cNvSpPr txBox="1"/>
          <p:nvPr/>
        </p:nvSpPr>
        <p:spPr>
          <a:xfrm>
            <a:off x="5750081" y="1819169"/>
            <a:ext cx="2022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Acesse revistas sugeridas com base nos termos da sua busca.</a:t>
            </a:r>
          </a:p>
        </p:txBody>
      </p:sp>
      <p:sp>
        <p:nvSpPr>
          <p:cNvPr id="8" name="Chave Direita 7">
            <a:extLst>
              <a:ext uri="{FF2B5EF4-FFF2-40B4-BE49-F238E27FC236}">
                <a16:creationId xmlns:a16="http://schemas.microsoft.com/office/drawing/2014/main" id="{780BCA7F-7944-441B-8222-5031D674C681}"/>
              </a:ext>
            </a:extLst>
          </p:cNvPr>
          <p:cNvSpPr/>
          <p:nvPr/>
        </p:nvSpPr>
        <p:spPr>
          <a:xfrm rot="16200000" flipV="1">
            <a:off x="3225234" y="2612037"/>
            <a:ext cx="386262" cy="2158406"/>
          </a:xfrm>
          <a:prstGeom prst="rightBrace">
            <a:avLst>
              <a:gd name="adj1" fmla="val 8333"/>
              <a:gd name="adj2" fmla="val 0"/>
            </a:avLst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4F1C9AD-028A-408A-ABB8-C9E6D1D739FB}"/>
              </a:ext>
            </a:extLst>
          </p:cNvPr>
          <p:cNvSpPr txBox="1"/>
          <p:nvPr/>
        </p:nvSpPr>
        <p:spPr>
          <a:xfrm>
            <a:off x="4508203" y="3427674"/>
            <a:ext cx="27750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/>
              <a:t>Selecione um ou mais documentos para baixar ou exportar</a:t>
            </a:r>
          </a:p>
        </p:txBody>
      </p:sp>
      <p:sp>
        <p:nvSpPr>
          <p:cNvPr id="10" name="Chave Direita 9">
            <a:extLst>
              <a:ext uri="{FF2B5EF4-FFF2-40B4-BE49-F238E27FC236}">
                <a16:creationId xmlns:a16="http://schemas.microsoft.com/office/drawing/2014/main" id="{DD08E264-488F-4E06-9EA2-1875F885D19A}"/>
              </a:ext>
            </a:extLst>
          </p:cNvPr>
          <p:cNvSpPr/>
          <p:nvPr/>
        </p:nvSpPr>
        <p:spPr>
          <a:xfrm rot="5400000" flipV="1">
            <a:off x="8077448" y="3314062"/>
            <a:ext cx="155448" cy="1063255"/>
          </a:xfrm>
          <a:prstGeom prst="rightBrace">
            <a:avLst/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87268470-6C08-47B4-B59C-8E50C166A52A}"/>
              </a:ext>
            </a:extLst>
          </p:cNvPr>
          <p:cNvSpPr txBox="1"/>
          <p:nvPr/>
        </p:nvSpPr>
        <p:spPr>
          <a:xfrm>
            <a:off x="6709141" y="4062395"/>
            <a:ext cx="24135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1" dirty="0"/>
              <a:t>Ordene seus resultados por data ou por frequência do termo no documento</a:t>
            </a:r>
          </a:p>
        </p:txBody>
      </p:sp>
    </p:spTree>
    <p:extLst>
      <p:ext uri="{BB962C8B-B14F-4D97-AF65-F5344CB8AC3E}">
        <p14:creationId xmlns:p14="http://schemas.microsoft.com/office/powerpoint/2010/main" val="35062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ED5BD9A2-F984-45A6-ADF9-F0318E1683A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0000"/>
          </a:blip>
          <a:srcRect t="9697" b="4998"/>
          <a:stretch/>
        </p:blipFill>
        <p:spPr>
          <a:xfrm>
            <a:off x="0" y="757939"/>
            <a:ext cx="9144000" cy="4385561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62FC7618-AC0C-4725-9877-9F533D089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R</a:t>
            </a:r>
            <a:r>
              <a:rPr lang="es-419" dirty="0" err="1"/>
              <a:t>efinando</a:t>
            </a:r>
            <a:r>
              <a:rPr lang="es-419" dirty="0"/>
              <a:t> os resultados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8CFE8B1-B94D-4803-99CC-AA0CD5596AB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16234"/>
          <a:stretch/>
        </p:blipFill>
        <p:spPr>
          <a:xfrm>
            <a:off x="2384081" y="835025"/>
            <a:ext cx="2475257" cy="43084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C2303319-B7BA-40EB-A6EE-A9F48A6196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80872" y="900112"/>
            <a:ext cx="2943225" cy="404812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A53F47D1-E2E6-4FDB-A964-F5EDFD545CFE}"/>
              </a:ext>
            </a:extLst>
          </p:cNvPr>
          <p:cNvSpPr/>
          <p:nvPr/>
        </p:nvSpPr>
        <p:spPr>
          <a:xfrm>
            <a:off x="319903" y="4304469"/>
            <a:ext cx="583864" cy="203736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 dirty="0"/>
          </a:p>
        </p:txBody>
      </p: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2F795CFC-8D0A-4434-BF5D-67C5083D852C}"/>
              </a:ext>
            </a:extLst>
          </p:cNvPr>
          <p:cNvCxnSpPr>
            <a:cxnSpLocks/>
          </p:cNvCxnSpPr>
          <p:nvPr/>
        </p:nvCxnSpPr>
        <p:spPr>
          <a:xfrm>
            <a:off x="903767" y="4406337"/>
            <a:ext cx="1480314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de Seta Reta 24">
            <a:extLst>
              <a:ext uri="{FF2B5EF4-FFF2-40B4-BE49-F238E27FC236}">
                <a16:creationId xmlns:a16="http://schemas.microsoft.com/office/drawing/2014/main" id="{7AB13C5B-6768-4411-8532-ACAF175B10A3}"/>
              </a:ext>
            </a:extLst>
          </p:cNvPr>
          <p:cNvCxnSpPr>
            <a:cxnSpLocks/>
          </p:cNvCxnSpPr>
          <p:nvPr/>
        </p:nvCxnSpPr>
        <p:spPr>
          <a:xfrm>
            <a:off x="4859338" y="4382931"/>
            <a:ext cx="924774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71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>
            <a:extLst>
              <a:ext uri="{FF2B5EF4-FFF2-40B4-BE49-F238E27FC236}">
                <a16:creationId xmlns:a16="http://schemas.microsoft.com/office/drawing/2014/main" id="{DA44D2C2-2ACB-45A0-AED5-AC869F96A0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317" r="1047" b="5439"/>
          <a:stretch/>
        </p:blipFill>
        <p:spPr>
          <a:xfrm>
            <a:off x="0" y="773519"/>
            <a:ext cx="9120510" cy="4365555"/>
          </a:xfrm>
          <a:prstGeom prst="rect">
            <a:avLst/>
          </a:prstGeom>
        </p:spPr>
      </p:pic>
      <p:sp>
        <p:nvSpPr>
          <p:cNvPr id="21" name="Retângulo 20">
            <a:extLst>
              <a:ext uri="{FF2B5EF4-FFF2-40B4-BE49-F238E27FC236}">
                <a16:creationId xmlns:a16="http://schemas.microsoft.com/office/drawing/2014/main" id="{5604F7EA-CDBF-480E-B749-8E951FD8F88A}"/>
              </a:ext>
            </a:extLst>
          </p:cNvPr>
          <p:cNvSpPr/>
          <p:nvPr/>
        </p:nvSpPr>
        <p:spPr>
          <a:xfrm>
            <a:off x="-13617" y="3753294"/>
            <a:ext cx="2456267" cy="13943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86FBDBF-1AC1-437F-94E8-C59E0E227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ágina do documento</a:t>
            </a:r>
            <a:endParaRPr lang="es-419" dirty="0"/>
          </a:p>
        </p:txBody>
      </p:sp>
      <p:sp>
        <p:nvSpPr>
          <p:cNvPr id="6" name="Chave Direita 5">
            <a:extLst>
              <a:ext uri="{FF2B5EF4-FFF2-40B4-BE49-F238E27FC236}">
                <a16:creationId xmlns:a16="http://schemas.microsoft.com/office/drawing/2014/main" id="{6315D73E-01E8-44F1-9F6E-665F20EF5C0E}"/>
              </a:ext>
            </a:extLst>
          </p:cNvPr>
          <p:cNvSpPr/>
          <p:nvPr/>
        </p:nvSpPr>
        <p:spPr>
          <a:xfrm rot="5400000" flipV="1">
            <a:off x="3131940" y="733292"/>
            <a:ext cx="594416" cy="1839136"/>
          </a:xfrm>
          <a:prstGeom prst="rightBrace">
            <a:avLst>
              <a:gd name="adj1" fmla="val 8333"/>
              <a:gd name="adj2" fmla="val 68203"/>
            </a:avLst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E367377A-5D9B-4FAD-AA85-33F1403BC7A8}"/>
              </a:ext>
            </a:extLst>
          </p:cNvPr>
          <p:cNvSpPr txBox="1"/>
          <p:nvPr/>
        </p:nvSpPr>
        <p:spPr>
          <a:xfrm>
            <a:off x="3104705" y="1945761"/>
            <a:ext cx="258371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b="1" dirty="0"/>
              <a:t>Veja e/ou baixe o documento no formato PDF.</a:t>
            </a:r>
          </a:p>
        </p:txBody>
      </p:sp>
      <p:sp>
        <p:nvSpPr>
          <p:cNvPr id="9" name="Chave Direita 8">
            <a:extLst>
              <a:ext uri="{FF2B5EF4-FFF2-40B4-BE49-F238E27FC236}">
                <a16:creationId xmlns:a16="http://schemas.microsoft.com/office/drawing/2014/main" id="{755FBDF5-9186-4F9C-B499-E066C1422029}"/>
              </a:ext>
            </a:extLst>
          </p:cNvPr>
          <p:cNvSpPr/>
          <p:nvPr/>
        </p:nvSpPr>
        <p:spPr>
          <a:xfrm rot="16200000">
            <a:off x="3131940" y="3369394"/>
            <a:ext cx="594416" cy="1839135"/>
          </a:xfrm>
          <a:prstGeom prst="rightBrace">
            <a:avLst>
              <a:gd name="adj1" fmla="val 8333"/>
              <a:gd name="adj2" fmla="val 0"/>
            </a:avLst>
          </a:prstGeom>
          <a:ln w="19050">
            <a:solidFill>
              <a:srgbClr val="FF6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419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1631112-DA0E-4D88-A3C4-7C10994F7E2C}"/>
              </a:ext>
            </a:extLst>
          </p:cNvPr>
          <p:cNvSpPr txBox="1"/>
          <p:nvPr/>
        </p:nvSpPr>
        <p:spPr>
          <a:xfrm>
            <a:off x="43336" y="3830788"/>
            <a:ext cx="24327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1" dirty="0"/>
              <a:t>Adicione ao </a:t>
            </a:r>
            <a:r>
              <a:rPr lang="pt-BR" sz="1200" b="1" dirty="0" err="1"/>
              <a:t>Mendeley</a:t>
            </a:r>
            <a:r>
              <a:rPr lang="pt-BR" sz="1200" b="1" dirty="0"/>
              <a:t>, compartilhe o link do documento por </a:t>
            </a:r>
            <a:r>
              <a:rPr lang="pt-BR" sz="1200" b="1" dirty="0" err="1"/>
              <a:t>email</a:t>
            </a:r>
            <a:r>
              <a:rPr lang="pt-BR" sz="1200" b="1" dirty="0"/>
              <a:t> ou nas redes sociais e exporte a citação em diversos formatos 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0B6AD618-63A9-4547-81DB-74EDEBC97D5F}"/>
              </a:ext>
            </a:extLst>
          </p:cNvPr>
          <p:cNvSpPr/>
          <p:nvPr/>
        </p:nvSpPr>
        <p:spPr>
          <a:xfrm>
            <a:off x="6645201" y="3973067"/>
            <a:ext cx="2456267" cy="1170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3E0F90F1-A4D1-41BC-AB20-65D5E8D2033C}"/>
              </a:ext>
            </a:extLst>
          </p:cNvPr>
          <p:cNvSpPr/>
          <p:nvPr/>
        </p:nvSpPr>
        <p:spPr>
          <a:xfrm>
            <a:off x="6654607" y="1711839"/>
            <a:ext cx="2129245" cy="2179675"/>
          </a:xfrm>
          <a:prstGeom prst="rect">
            <a:avLst/>
          </a:prstGeom>
          <a:noFill/>
          <a:ln w="19050">
            <a:solidFill>
              <a:srgbClr val="FF6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AB9654-BE5B-458C-BD39-4D69C0444CBB}"/>
              </a:ext>
            </a:extLst>
          </p:cNvPr>
          <p:cNvSpPr txBox="1"/>
          <p:nvPr/>
        </p:nvSpPr>
        <p:spPr>
          <a:xfrm>
            <a:off x="6482120" y="4206209"/>
            <a:ext cx="24327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400" b="1" dirty="0"/>
              <a:t>Acesse outros artigos na mesma temática daquele que se está visualizando</a:t>
            </a: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F1D5ADED-C37E-4DAE-8F6C-85B4F4DBA5EE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7719230" y="3891514"/>
            <a:ext cx="599" cy="265813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21">
            <a:extLst>
              <a:ext uri="{FF2B5EF4-FFF2-40B4-BE49-F238E27FC236}">
                <a16:creationId xmlns:a16="http://schemas.microsoft.com/office/drawing/2014/main" id="{B458EBE0-A4F4-4FEC-824A-05E4FA636300}"/>
              </a:ext>
            </a:extLst>
          </p:cNvPr>
          <p:cNvSpPr/>
          <p:nvPr/>
        </p:nvSpPr>
        <p:spPr>
          <a:xfrm>
            <a:off x="2477681" y="2319339"/>
            <a:ext cx="670313" cy="149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</p:spTree>
    <p:extLst>
      <p:ext uri="{BB962C8B-B14F-4D97-AF65-F5344CB8AC3E}">
        <p14:creationId xmlns:p14="http://schemas.microsoft.com/office/powerpoint/2010/main" val="117531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2057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F7D232A5-E476-470D-8B9F-7DF57FFBA801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F0BD70AD-5EFD-46BE-B9CF-4081C5AD7863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91A861E9-5B38-4BD0-B058-E89188F8319A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7.potx" id="{AF2D5527-4BFB-49CD-803D-AE8A4C564A4D}" vid="{A827AD72-1E3C-496B-A642-4C319537B57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LS_PPT_20211117</Template>
  <TotalTime>2763</TotalTime>
  <Words>597</Words>
  <Application>Microsoft Office PowerPoint</Application>
  <PresentationFormat>Apresentação na tela (16:9)</PresentationFormat>
  <Paragraphs>86</Paragraphs>
  <Slides>22</Slides>
  <Notes>3</Notes>
  <HiddenSlides>1</HiddenSlides>
  <MMClips>0</MMClips>
  <ScaleCrop>false</ScaleCrop>
  <HeadingPairs>
    <vt:vector size="6" baseType="variant">
      <vt:variant>
        <vt:lpstr>Fontes usadas</vt:lpstr>
      </vt:variant>
      <vt:variant>
        <vt:i4>2</vt:i4>
      </vt:variant>
      <vt:variant>
        <vt:lpstr>Tema</vt:lpstr>
      </vt:variant>
      <vt:variant>
        <vt:i4>4</vt:i4>
      </vt:variant>
      <vt:variant>
        <vt:lpstr>Títulos de slides</vt:lpstr>
      </vt:variant>
      <vt:variant>
        <vt:i4>22</vt:i4>
      </vt:variant>
    </vt:vector>
  </HeadingPairs>
  <TitlesOfParts>
    <vt:vector size="28" baseType="lpstr">
      <vt:lpstr>Arial</vt:lpstr>
      <vt:lpstr>Courier New</vt:lpstr>
      <vt:lpstr>Elsevier light</vt:lpstr>
      <vt:lpstr>Elsevier light - Charts and Data</vt:lpstr>
      <vt:lpstr>Elsevier dark</vt:lpstr>
      <vt:lpstr>Elsevier dark - Charts and Data</vt:lpstr>
      <vt:lpstr>Apresentação do PowerPoint</vt:lpstr>
      <vt:lpstr>ScienceDirect Hoje</vt:lpstr>
      <vt:lpstr>ScienceDirect está atraindo de forma consistente mais conteúdo global</vt:lpstr>
      <vt:lpstr>O conteúdo de livros é um complemento essencial ao conteúdo de revistas</vt:lpstr>
      <vt:lpstr>O acesso a livros e a revistas em uma mesma plataforma fornece discernimentos mais significativos</vt:lpstr>
      <vt:lpstr>Busca rápida no ScienceDirect</vt:lpstr>
      <vt:lpstr>Resultados de uma busca</vt:lpstr>
      <vt:lpstr>Refinando os resultados</vt:lpstr>
      <vt:lpstr>Página do documento</vt:lpstr>
      <vt:lpstr>Detalhes do documento</vt:lpstr>
      <vt:lpstr>PlumX: Métricas dedicadas exclusivamente a documentos de informação científica </vt:lpstr>
      <vt:lpstr>Detalhes do documento</vt:lpstr>
      <vt:lpstr>Topic pages</vt:lpstr>
      <vt:lpstr>Página do PDF</vt:lpstr>
      <vt:lpstr>Busca avançada no ScienceDirect</vt:lpstr>
      <vt:lpstr>Busca avançada no ScienceDirect</vt:lpstr>
      <vt:lpstr>Seu histórico no ScienceDirect</vt:lpstr>
      <vt:lpstr>Seu histórico no ScienceDirect</vt:lpstr>
      <vt:lpstr>Seu histórico de busca</vt:lpstr>
      <vt:lpstr>O seu histórico no ScienceDirect</vt:lpstr>
      <vt:lpstr>Obrigada!</vt:lpstr>
      <vt:lpstr>Vamos ficar em contato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antos, Samara (ELS-CON)</dc:creator>
  <cp:lastModifiedBy>Vidal, Sergio V. (ELS-RIO)</cp:lastModifiedBy>
  <cp:revision>1</cp:revision>
  <cp:lastPrinted>2018-07-23T12:36:44Z</cp:lastPrinted>
  <dcterms:created xsi:type="dcterms:W3CDTF">2022-01-14T18:23:29Z</dcterms:created>
  <dcterms:modified xsi:type="dcterms:W3CDTF">2022-04-11T16:59:17Z</dcterms:modified>
  <cp:version>1.0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2-01-14T18:23:31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a29f75b9-4c91-458b-9aa0-da7e3d1749db</vt:lpwstr>
  </property>
  <property fmtid="{D5CDD505-2E9C-101B-9397-08002B2CF9AE}" pid="9" name="MSIP_Label_549ac42a-3eb4-4074-b885-aea26bd6241e_ContentBits">
    <vt:lpwstr>0</vt:lpwstr>
  </property>
</Properties>
</file>